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  <p:sldMasterId id="2147483795" r:id="rId5"/>
  </p:sldMasterIdLst>
  <p:notesMasterIdLst>
    <p:notesMasterId r:id="rId35"/>
  </p:notesMasterIdLst>
  <p:handoutMasterIdLst>
    <p:handoutMasterId r:id="rId36"/>
  </p:handoutMasterIdLst>
  <p:sldIdLst>
    <p:sldId id="324" r:id="rId6"/>
    <p:sldId id="323" r:id="rId7"/>
    <p:sldId id="10395" r:id="rId8"/>
    <p:sldId id="10390" r:id="rId9"/>
    <p:sldId id="10391" r:id="rId10"/>
    <p:sldId id="10397" r:id="rId11"/>
    <p:sldId id="10392" r:id="rId12"/>
    <p:sldId id="10394" r:id="rId13"/>
    <p:sldId id="10393" r:id="rId14"/>
    <p:sldId id="310" r:id="rId15"/>
    <p:sldId id="10396" r:id="rId16"/>
    <p:sldId id="10373" r:id="rId17"/>
    <p:sldId id="10378" r:id="rId18"/>
    <p:sldId id="10398" r:id="rId19"/>
    <p:sldId id="10369" r:id="rId20"/>
    <p:sldId id="10375" r:id="rId21"/>
    <p:sldId id="10377" r:id="rId22"/>
    <p:sldId id="10399" r:id="rId23"/>
    <p:sldId id="10374" r:id="rId24"/>
    <p:sldId id="10400" r:id="rId25"/>
    <p:sldId id="10401" r:id="rId26"/>
    <p:sldId id="257" r:id="rId27"/>
    <p:sldId id="10402" r:id="rId28"/>
    <p:sldId id="383" r:id="rId29"/>
    <p:sldId id="384" r:id="rId30"/>
    <p:sldId id="10403" r:id="rId31"/>
    <p:sldId id="10404" r:id="rId32"/>
    <p:sldId id="10405" r:id="rId33"/>
    <p:sldId id="1637156155" r:id="rId3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3936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913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pos="257" userDrawn="1">
          <p15:clr>
            <a:srgbClr val="A4A3A4"/>
          </p15:clr>
        </p15:guide>
        <p15:guide id="11" orient="horz" pos="13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hoskova Sylwia" initials="RS" lastIdx="2" clrIdx="0">
    <p:extLst>
      <p:ext uri="{19B8F6BF-5375-455C-9EA6-DF929625EA0E}">
        <p15:presenceInfo xmlns:p15="http://schemas.microsoft.com/office/powerpoint/2012/main" userId="S::Sylwia.Rihoskova@hartmann.info::9fff16e2-7710-484e-8e92-30a9d58fb5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00FF"/>
    <a:srgbClr val="B21DAC"/>
    <a:srgbClr val="FFDE0F"/>
    <a:srgbClr val="00D8B4"/>
    <a:srgbClr val="0045FF"/>
    <a:srgbClr val="323E48"/>
    <a:srgbClr val="656E76"/>
    <a:srgbClr val="989EA3"/>
    <a:srgbClr val="CCCFD1"/>
    <a:srgbClr val="7A6E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1F89C7-A54A-4357-BA8F-577CFB277F23}" v="743" dt="2024-10-01T05:47:55.8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405" autoAdjust="0"/>
  </p:normalViewPr>
  <p:slideViewPr>
    <p:cSldViewPr snapToGrid="0" showGuides="1">
      <p:cViewPr varScale="1">
        <p:scale>
          <a:sx n="105" d="100"/>
          <a:sy n="105" d="100"/>
        </p:scale>
        <p:origin x="138" y="222"/>
      </p:cViewPr>
      <p:guideLst>
        <p:guide orient="horz" pos="3936"/>
        <p:guide pos="7423"/>
        <p:guide orient="horz" pos="913"/>
        <p:guide orient="horz" pos="255"/>
        <p:guide pos="257"/>
        <p:guide orient="horz" pos="13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75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vlicek Petr" userId="9f016b49-f301-4bcf-aeb3-c06418fcfb85" providerId="ADAL" clId="{E61F89C7-A54A-4357-BA8F-577CFB277F23}"/>
    <pc:docChg chg="undo custSel addSld delSld modSld sldOrd delSection modSection">
      <pc:chgData name="Havlicek Petr" userId="9f016b49-f301-4bcf-aeb3-c06418fcfb85" providerId="ADAL" clId="{E61F89C7-A54A-4357-BA8F-577CFB277F23}" dt="2024-10-01T05:48:01.291" v="4545" actId="20577"/>
      <pc:docMkLst>
        <pc:docMk/>
      </pc:docMkLst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439472034" sldId="256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637938111" sldId="25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386758403" sldId="26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579817700" sldId="26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988532643" sldId="266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860319473" sldId="26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476978782" sldId="269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181099552" sldId="27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4258266305" sldId="275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4041346394" sldId="28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4127440697" sldId="285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009214851" sldId="287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805284709" sldId="292"/>
        </pc:sldMkLst>
      </pc:sldChg>
      <pc:sldChg chg="del">
        <pc:chgData name="Havlicek Petr" userId="9f016b49-f301-4bcf-aeb3-c06418fcfb85" providerId="ADAL" clId="{E61F89C7-A54A-4357-BA8F-577CFB277F23}" dt="2024-10-01T05:32:10.803" v="4321" actId="47"/>
        <pc:sldMkLst>
          <pc:docMk/>
          <pc:sldMk cId="646171155" sldId="296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280985544" sldId="305"/>
        </pc:sldMkLst>
      </pc:sldChg>
      <pc:sldChg chg="del">
        <pc:chgData name="Havlicek Petr" userId="9f016b49-f301-4bcf-aeb3-c06418fcfb85" providerId="ADAL" clId="{E61F89C7-A54A-4357-BA8F-577CFB277F23}" dt="2024-10-01T05:32:10.803" v="4321" actId="47"/>
        <pc:sldMkLst>
          <pc:docMk/>
          <pc:sldMk cId="2604312543" sldId="30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037146092" sldId="309"/>
        </pc:sldMkLst>
      </pc:sldChg>
      <pc:sldChg chg="delSp modSp mod ord">
        <pc:chgData name="Havlicek Petr" userId="9f016b49-f301-4bcf-aeb3-c06418fcfb85" providerId="ADAL" clId="{E61F89C7-A54A-4357-BA8F-577CFB277F23}" dt="2024-09-30T17:30:57.853" v="491" actId="478"/>
        <pc:sldMkLst>
          <pc:docMk/>
          <pc:sldMk cId="3566217168" sldId="310"/>
        </pc:sldMkLst>
        <pc:spChg chg="mod">
          <ac:chgData name="Havlicek Petr" userId="9f016b49-f301-4bcf-aeb3-c06418fcfb85" providerId="ADAL" clId="{E61F89C7-A54A-4357-BA8F-577CFB277F23}" dt="2024-09-30T17:30:52.847" v="490" actId="6549"/>
          <ac:spMkLst>
            <pc:docMk/>
            <pc:sldMk cId="3566217168" sldId="310"/>
            <ac:spMk id="2" creationId="{5684AC47-25B7-4854-9F4C-EEA6A6C9552C}"/>
          </ac:spMkLst>
        </pc:spChg>
        <pc:spChg chg="del">
          <ac:chgData name="Havlicek Petr" userId="9f016b49-f301-4bcf-aeb3-c06418fcfb85" providerId="ADAL" clId="{E61F89C7-A54A-4357-BA8F-577CFB277F23}" dt="2024-09-30T17:29:00.031" v="343" actId="478"/>
          <ac:spMkLst>
            <pc:docMk/>
            <pc:sldMk cId="3566217168" sldId="310"/>
            <ac:spMk id="28" creationId="{A8BD5318-C1E5-F74E-B200-82B0844B2BC2}"/>
          </ac:spMkLst>
        </pc:spChg>
        <pc:spChg chg="del">
          <ac:chgData name="Havlicek Petr" userId="9f016b49-f301-4bcf-aeb3-c06418fcfb85" providerId="ADAL" clId="{E61F89C7-A54A-4357-BA8F-577CFB277F23}" dt="2024-09-30T17:30:57.853" v="491" actId="478"/>
          <ac:spMkLst>
            <pc:docMk/>
            <pc:sldMk cId="3566217168" sldId="310"/>
            <ac:spMk id="71" creationId="{2E708880-0794-4084-B239-BAAE231DBA72}"/>
          </ac:spMkLst>
        </pc:spChg>
        <pc:spChg chg="del mod">
          <ac:chgData name="Havlicek Petr" userId="9f016b49-f301-4bcf-aeb3-c06418fcfb85" providerId="ADAL" clId="{E61F89C7-A54A-4357-BA8F-577CFB277F23}" dt="2024-09-30T17:29:52.297" v="416" actId="478"/>
          <ac:spMkLst>
            <pc:docMk/>
            <pc:sldMk cId="3566217168" sldId="310"/>
            <ac:spMk id="72" creationId="{B9923252-85B4-40D3-9C8C-81389F94EF11}"/>
          </ac:spMkLst>
        </pc:spChg>
        <pc:spChg chg="mod">
          <ac:chgData name="Havlicek Petr" userId="9f016b49-f301-4bcf-aeb3-c06418fcfb85" providerId="ADAL" clId="{E61F89C7-A54A-4357-BA8F-577CFB277F23}" dt="2024-09-30T17:27:19.182" v="190" actId="20577"/>
          <ac:spMkLst>
            <pc:docMk/>
            <pc:sldMk cId="3566217168" sldId="310"/>
            <ac:spMk id="73" creationId="{520762D8-FDD0-4A6E-9718-66F6D64F8648}"/>
          </ac:spMkLst>
        </pc:spChg>
        <pc:spChg chg="mod">
          <ac:chgData name="Havlicek Petr" userId="9f016b49-f301-4bcf-aeb3-c06418fcfb85" providerId="ADAL" clId="{E61F89C7-A54A-4357-BA8F-577CFB277F23}" dt="2024-09-30T17:28:42.670" v="342" actId="1076"/>
          <ac:spMkLst>
            <pc:docMk/>
            <pc:sldMk cId="3566217168" sldId="310"/>
            <ac:spMk id="74" creationId="{31AD0352-794B-42A3-9605-67033153FA17}"/>
          </ac:spMkLst>
        </pc:spChg>
        <pc:spChg chg="mod">
          <ac:chgData name="Havlicek Petr" userId="9f016b49-f301-4bcf-aeb3-c06418fcfb85" providerId="ADAL" clId="{E61F89C7-A54A-4357-BA8F-577CFB277F23}" dt="2024-09-30T17:26:13.162" v="69" actId="20577"/>
          <ac:spMkLst>
            <pc:docMk/>
            <pc:sldMk cId="3566217168" sldId="310"/>
            <ac:spMk id="75" creationId="{A6B978DA-7D04-4078-8ACD-437747CD7B81}"/>
          </ac:spMkLst>
        </pc:spChg>
        <pc:spChg chg="mod">
          <ac:chgData name="Havlicek Petr" userId="9f016b49-f301-4bcf-aeb3-c06418fcfb85" providerId="ADAL" clId="{E61F89C7-A54A-4357-BA8F-577CFB277F23}" dt="2024-09-30T17:27:02.301" v="149" actId="20577"/>
          <ac:spMkLst>
            <pc:docMk/>
            <pc:sldMk cId="3566217168" sldId="310"/>
            <ac:spMk id="76" creationId="{BC8AC3DE-8323-42AC-A62F-99F67F064AED}"/>
          </ac:spMkLst>
        </pc:spChg>
        <pc:spChg chg="mod">
          <ac:chgData name="Havlicek Petr" userId="9f016b49-f301-4bcf-aeb3-c06418fcfb85" providerId="ADAL" clId="{E61F89C7-A54A-4357-BA8F-577CFB277F23}" dt="2024-09-30T17:29:31.355" v="414" actId="20577"/>
          <ac:spMkLst>
            <pc:docMk/>
            <pc:sldMk cId="3566217168" sldId="310"/>
            <ac:spMk id="77" creationId="{0743C4E7-7033-44F8-B228-E26C120847ED}"/>
          </ac:spMkLst>
        </pc:spChg>
        <pc:spChg chg="mod">
          <ac:chgData name="Havlicek Petr" userId="9f016b49-f301-4bcf-aeb3-c06418fcfb85" providerId="ADAL" clId="{E61F89C7-A54A-4357-BA8F-577CFB277F23}" dt="2024-09-30T17:28:17.871" v="307" actId="20577"/>
          <ac:spMkLst>
            <pc:docMk/>
            <pc:sldMk cId="3566217168" sldId="310"/>
            <ac:spMk id="78" creationId="{32F05130-550D-4644-BFED-F5F419A3EB96}"/>
          </ac:spMkLst>
        </pc:spChg>
        <pc:spChg chg="mod">
          <ac:chgData name="Havlicek Petr" userId="9f016b49-f301-4bcf-aeb3-c06418fcfb85" providerId="ADAL" clId="{E61F89C7-A54A-4357-BA8F-577CFB277F23}" dt="2024-09-30T17:27:51.162" v="256" actId="20577"/>
          <ac:spMkLst>
            <pc:docMk/>
            <pc:sldMk cId="3566217168" sldId="310"/>
            <ac:spMk id="79" creationId="{FF43C5B3-FDD9-4787-9F9D-F6F167387AD3}"/>
          </ac:spMkLst>
        </pc:spChg>
        <pc:spChg chg="mod">
          <ac:chgData name="Havlicek Petr" userId="9f016b49-f301-4bcf-aeb3-c06418fcfb85" providerId="ADAL" clId="{E61F89C7-A54A-4357-BA8F-577CFB277F23}" dt="2024-09-30T17:26:44.576" v="121" actId="20577"/>
          <ac:spMkLst>
            <pc:docMk/>
            <pc:sldMk cId="3566217168" sldId="310"/>
            <ac:spMk id="80" creationId="{371F15D7-903A-43B0-9D50-D6F137A84AF5}"/>
          </ac:spMkLst>
        </pc:spChg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516134279" sldId="311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874623580" sldId="312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884204889" sldId="313"/>
        </pc:sldMkLst>
      </pc:sldChg>
      <pc:sldChg chg="modSp mod">
        <pc:chgData name="Havlicek Petr" userId="9f016b49-f301-4bcf-aeb3-c06418fcfb85" providerId="ADAL" clId="{E61F89C7-A54A-4357-BA8F-577CFB277F23}" dt="2024-10-01T05:36:29.287" v="4363" actId="14100"/>
        <pc:sldMkLst>
          <pc:docMk/>
          <pc:sldMk cId="2684616541" sldId="323"/>
        </pc:sldMkLst>
        <pc:spChg chg="mod">
          <ac:chgData name="Havlicek Petr" userId="9f016b49-f301-4bcf-aeb3-c06418fcfb85" providerId="ADAL" clId="{E61F89C7-A54A-4357-BA8F-577CFB277F23}" dt="2024-10-01T05:36:29.287" v="4363" actId="14100"/>
          <ac:spMkLst>
            <pc:docMk/>
            <pc:sldMk cId="2684616541" sldId="323"/>
            <ac:spMk id="3" creationId="{52FFBD17-132F-B842-9523-A311F4D009B7}"/>
          </ac:spMkLst>
        </pc:spChg>
      </pc:sldChg>
      <pc:sldChg chg="addSp delSp modSp mod">
        <pc:chgData name="Havlicek Petr" userId="9f016b49-f301-4bcf-aeb3-c06418fcfb85" providerId="ADAL" clId="{E61F89C7-A54A-4357-BA8F-577CFB277F23}" dt="2024-09-30T17:35:57.761" v="592" actId="1038"/>
        <pc:sldMkLst>
          <pc:docMk/>
          <pc:sldMk cId="2606867301" sldId="324"/>
        </pc:sldMkLst>
        <pc:spChg chg="mod">
          <ac:chgData name="Havlicek Petr" userId="9f016b49-f301-4bcf-aeb3-c06418fcfb85" providerId="ADAL" clId="{E61F89C7-A54A-4357-BA8F-577CFB277F23}" dt="2024-09-30T17:33:32.287" v="544" actId="5793"/>
          <ac:spMkLst>
            <pc:docMk/>
            <pc:sldMk cId="2606867301" sldId="324"/>
            <ac:spMk id="2" creationId="{BD9B33C3-CFE7-4304-8C0D-384F3B4B439C}"/>
          </ac:spMkLst>
        </pc:spChg>
        <pc:spChg chg="add mod">
          <ac:chgData name="Havlicek Petr" userId="9f016b49-f301-4bcf-aeb3-c06418fcfb85" providerId="ADAL" clId="{E61F89C7-A54A-4357-BA8F-577CFB277F23}" dt="2024-09-30T17:35:57.761" v="592" actId="1038"/>
          <ac:spMkLst>
            <pc:docMk/>
            <pc:sldMk cId="2606867301" sldId="324"/>
            <ac:spMk id="4" creationId="{1E0F1814-DB50-6DE6-F40A-E8F4EAE79987}"/>
          </ac:spMkLst>
        </pc:spChg>
        <pc:spChg chg="mod">
          <ac:chgData name="Havlicek Petr" userId="9f016b49-f301-4bcf-aeb3-c06418fcfb85" providerId="ADAL" clId="{E61F89C7-A54A-4357-BA8F-577CFB277F23}" dt="2024-09-30T17:33:38.990" v="557" actId="20577"/>
          <ac:spMkLst>
            <pc:docMk/>
            <pc:sldMk cId="2606867301" sldId="324"/>
            <ac:spMk id="5" creationId="{60612E92-2ACC-48BF-ABDD-B5AD3283EBE4}"/>
          </ac:spMkLst>
        </pc:spChg>
        <pc:spChg chg="del mod">
          <ac:chgData name="Havlicek Petr" userId="9f016b49-f301-4bcf-aeb3-c06418fcfb85" providerId="ADAL" clId="{E61F89C7-A54A-4357-BA8F-577CFB277F23}" dt="2024-09-30T17:35:23.970" v="569" actId="478"/>
          <ac:spMkLst>
            <pc:docMk/>
            <pc:sldMk cId="2606867301" sldId="324"/>
            <ac:spMk id="9" creationId="{DC8990BA-79E3-4705-BC9B-048CF6F9D2C6}"/>
          </ac:spMkLst>
        </pc:spChg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067317440" sldId="330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438653021" sldId="331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995837770" sldId="350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507020058" sldId="351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497753095" sldId="35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744430091" sldId="357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418225862" sldId="35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857521206" sldId="361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960945786" sldId="362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819706626" sldId="36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124903733" sldId="368"/>
        </pc:sldMkLst>
      </pc:sldChg>
      <pc:sldChg chg="del">
        <pc:chgData name="Havlicek Petr" userId="9f016b49-f301-4bcf-aeb3-c06418fcfb85" providerId="ADAL" clId="{E61F89C7-A54A-4357-BA8F-577CFB277F23}" dt="2024-10-01T05:32:04.111" v="4320" actId="47"/>
        <pc:sldMkLst>
          <pc:docMk/>
          <pc:sldMk cId="1345708222" sldId="372"/>
        </pc:sldMkLst>
      </pc:sldChg>
      <pc:sldChg chg="modSp add mod modAnim">
        <pc:chgData name="Havlicek Petr" userId="9f016b49-f301-4bcf-aeb3-c06418fcfb85" providerId="ADAL" clId="{E61F89C7-A54A-4357-BA8F-577CFB277F23}" dt="2024-10-01T05:44:56.913" v="4518"/>
        <pc:sldMkLst>
          <pc:docMk/>
          <pc:sldMk cId="1598813452" sldId="383"/>
        </pc:sldMkLst>
        <pc:spChg chg="mod">
          <ac:chgData name="Havlicek Petr" userId="9f016b49-f301-4bcf-aeb3-c06418fcfb85" providerId="ADAL" clId="{E61F89C7-A54A-4357-BA8F-577CFB277F23}" dt="2024-10-01T04:42:31.553" v="2739" actId="6549"/>
          <ac:spMkLst>
            <pc:docMk/>
            <pc:sldMk cId="1598813452" sldId="383"/>
            <ac:spMk id="2" creationId="{E2F4CC3A-DC06-E9D0-F6B9-0E89104BBB99}"/>
          </ac:spMkLst>
        </pc:spChg>
        <pc:spChg chg="mod">
          <ac:chgData name="Havlicek Petr" userId="9f016b49-f301-4bcf-aeb3-c06418fcfb85" providerId="ADAL" clId="{E61F89C7-A54A-4357-BA8F-577CFB277F23}" dt="2024-10-01T04:41:56.413" v="2704" actId="20577"/>
          <ac:spMkLst>
            <pc:docMk/>
            <pc:sldMk cId="1598813452" sldId="383"/>
            <ac:spMk id="6" creationId="{195592CE-7C2A-90F6-3B23-BB07D0390941}"/>
          </ac:spMkLst>
        </pc:spChg>
        <pc:spChg chg="mod">
          <ac:chgData name="Havlicek Petr" userId="9f016b49-f301-4bcf-aeb3-c06418fcfb85" providerId="ADAL" clId="{E61F89C7-A54A-4357-BA8F-577CFB277F23}" dt="2024-10-01T04:42:02.758" v="2711" actId="20577"/>
          <ac:spMkLst>
            <pc:docMk/>
            <pc:sldMk cId="1598813452" sldId="383"/>
            <ac:spMk id="7" creationId="{73F0ED63-A366-1E3B-F0FE-877BD454A8AE}"/>
          </ac:spMkLst>
        </pc:spChg>
        <pc:spChg chg="mod">
          <ac:chgData name="Havlicek Petr" userId="9f016b49-f301-4bcf-aeb3-c06418fcfb85" providerId="ADAL" clId="{E61F89C7-A54A-4357-BA8F-577CFB277F23}" dt="2024-10-01T04:41:49.095" v="2700" actId="6549"/>
          <ac:spMkLst>
            <pc:docMk/>
            <pc:sldMk cId="1598813452" sldId="383"/>
            <ac:spMk id="18" creationId="{6A3448E7-F676-E251-14DF-7C476EFE61D4}"/>
          </ac:spMkLst>
        </pc:spChg>
        <pc:grpChg chg="mod">
          <ac:chgData name="Havlicek Petr" userId="9f016b49-f301-4bcf-aeb3-c06418fcfb85" providerId="ADAL" clId="{E61F89C7-A54A-4357-BA8F-577CFB277F23}" dt="2024-10-01T04:42:07.974" v="2712" actId="1076"/>
          <ac:grpSpMkLst>
            <pc:docMk/>
            <pc:sldMk cId="1598813452" sldId="383"/>
            <ac:grpSpMk id="8" creationId="{8F64AC35-B531-4519-A921-7B01CDB11324}"/>
          </ac:grpSpMkLst>
        </pc:grpChg>
      </pc:sldChg>
      <pc:sldChg chg="addSp delSp modSp add mod">
        <pc:chgData name="Havlicek Petr" userId="9f016b49-f301-4bcf-aeb3-c06418fcfb85" providerId="ADAL" clId="{E61F89C7-A54A-4357-BA8F-577CFB277F23}" dt="2024-10-01T05:46:26.657" v="4529" actId="20577"/>
        <pc:sldMkLst>
          <pc:docMk/>
          <pc:sldMk cId="2056681318" sldId="384"/>
        </pc:sldMkLst>
        <pc:spChg chg="mod">
          <ac:chgData name="Havlicek Petr" userId="9f016b49-f301-4bcf-aeb3-c06418fcfb85" providerId="ADAL" clId="{E61F89C7-A54A-4357-BA8F-577CFB277F23}" dt="2024-10-01T04:42:41.797" v="2751" actId="20577"/>
          <ac:spMkLst>
            <pc:docMk/>
            <pc:sldMk cId="2056681318" sldId="384"/>
            <ac:spMk id="2" creationId="{E2F4CC3A-DC06-E9D0-F6B9-0E89104BBB99}"/>
          </ac:spMkLst>
        </pc:spChg>
        <pc:spChg chg="add mod">
          <ac:chgData name="Havlicek Petr" userId="9f016b49-f301-4bcf-aeb3-c06418fcfb85" providerId="ADAL" clId="{E61F89C7-A54A-4357-BA8F-577CFB277F23}" dt="2024-10-01T04:44:14.326" v="2788" actId="207"/>
          <ac:spMkLst>
            <pc:docMk/>
            <pc:sldMk cId="2056681318" sldId="384"/>
            <ac:spMk id="6" creationId="{061491A1-4D78-93FE-412E-3A12206D3F15}"/>
          </ac:spMkLst>
        </pc:spChg>
        <pc:spChg chg="add mod">
          <ac:chgData name="Havlicek Petr" userId="9f016b49-f301-4bcf-aeb3-c06418fcfb85" providerId="ADAL" clId="{E61F89C7-A54A-4357-BA8F-577CFB277F23}" dt="2024-10-01T04:44:54.930" v="2790" actId="207"/>
          <ac:spMkLst>
            <pc:docMk/>
            <pc:sldMk cId="2056681318" sldId="384"/>
            <ac:spMk id="8" creationId="{47ADBA18-A5E5-8898-3F0D-55249D3B29FD}"/>
          </ac:spMkLst>
        </pc:spChg>
        <pc:spChg chg="add mod">
          <ac:chgData name="Havlicek Petr" userId="9f016b49-f301-4bcf-aeb3-c06418fcfb85" providerId="ADAL" clId="{E61F89C7-A54A-4357-BA8F-577CFB277F23}" dt="2024-10-01T04:45:07.358" v="2794" actId="14100"/>
          <ac:spMkLst>
            <pc:docMk/>
            <pc:sldMk cId="2056681318" sldId="384"/>
            <ac:spMk id="9" creationId="{0FF70932-0E1A-77A8-6DD2-F9896B99E9B1}"/>
          </ac:spMkLst>
        </pc:spChg>
        <pc:spChg chg="mod">
          <ac:chgData name="Havlicek Petr" userId="9f016b49-f301-4bcf-aeb3-c06418fcfb85" providerId="ADAL" clId="{E61F89C7-A54A-4357-BA8F-577CFB277F23}" dt="2024-10-01T05:46:26.657" v="4529" actId="20577"/>
          <ac:spMkLst>
            <pc:docMk/>
            <pc:sldMk cId="2056681318" sldId="384"/>
            <ac:spMk id="10" creationId="{646181AF-082B-36A6-BFD9-B065B8B81EDC}"/>
          </ac:spMkLst>
        </pc:spChg>
        <pc:spChg chg="del">
          <ac:chgData name="Havlicek Petr" userId="9f016b49-f301-4bcf-aeb3-c06418fcfb85" providerId="ADAL" clId="{E61F89C7-A54A-4357-BA8F-577CFB277F23}" dt="2024-10-01T04:42:47.487" v="2752" actId="478"/>
          <ac:spMkLst>
            <pc:docMk/>
            <pc:sldMk cId="2056681318" sldId="384"/>
            <ac:spMk id="18" creationId="{6A3448E7-F676-E251-14DF-7C476EFE61D4}"/>
          </ac:spMkLst>
        </pc:spChg>
        <pc:picChg chg="mod">
          <ac:chgData name="Havlicek Petr" userId="9f016b49-f301-4bcf-aeb3-c06418fcfb85" providerId="ADAL" clId="{E61F89C7-A54A-4357-BA8F-577CFB277F23}" dt="2024-10-01T04:43:02.565" v="2753" actId="14100"/>
          <ac:picMkLst>
            <pc:docMk/>
            <pc:sldMk cId="2056681318" sldId="384"/>
            <ac:picMk id="7" creationId="{2F97CDAE-3BD7-B37B-8BE4-76E2E966DAB7}"/>
          </ac:picMkLst>
        </pc:picChg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897092157" sldId="39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295253239" sldId="399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852927143" sldId="416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269558278" sldId="41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04900479" sldId="422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41246142" sldId="42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859372911" sldId="42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184340849" sldId="50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428160546" sldId="487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416787034" sldId="10352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998590706" sldId="1035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716675615" sldId="1035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099272132" sldId="10355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755026460" sldId="10358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859297490" sldId="10359"/>
        </pc:sldMkLst>
      </pc:sldChg>
      <pc:sldChg chg="del">
        <pc:chgData name="Havlicek Petr" userId="9f016b49-f301-4bcf-aeb3-c06418fcfb85" providerId="ADAL" clId="{E61F89C7-A54A-4357-BA8F-577CFB277F23}" dt="2024-10-01T05:32:10.803" v="4321" actId="47"/>
        <pc:sldMkLst>
          <pc:docMk/>
          <pc:sldMk cId="594441378" sldId="10361"/>
        </pc:sldMkLst>
      </pc:sldChg>
      <pc:sldChg chg="del">
        <pc:chgData name="Havlicek Petr" userId="9f016b49-f301-4bcf-aeb3-c06418fcfb85" providerId="ADAL" clId="{E61F89C7-A54A-4357-BA8F-577CFB277F23}" dt="2024-10-01T05:32:10.803" v="4321" actId="47"/>
        <pc:sldMkLst>
          <pc:docMk/>
          <pc:sldMk cId="639058717" sldId="10362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2775122523" sldId="10363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308975353" sldId="10364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694699717" sldId="10365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709153244" sldId="10366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396250047" sldId="10367"/>
        </pc:sldMkLst>
      </pc:sldChg>
      <pc:sldChg chg="del">
        <pc:chgData name="Havlicek Petr" userId="9f016b49-f301-4bcf-aeb3-c06418fcfb85" providerId="ADAL" clId="{E61F89C7-A54A-4357-BA8F-577CFB277F23}" dt="2024-10-01T05:31:06.992" v="4266" actId="47"/>
        <pc:sldMkLst>
          <pc:docMk/>
          <pc:sldMk cId="1334025427" sldId="10368"/>
        </pc:sldMkLst>
      </pc:sldChg>
      <pc:sldChg chg="addSp delSp modSp mod">
        <pc:chgData name="Havlicek Petr" userId="9f016b49-f301-4bcf-aeb3-c06418fcfb85" providerId="ADAL" clId="{E61F89C7-A54A-4357-BA8F-577CFB277F23}" dt="2024-10-01T05:41:08.515" v="4508" actId="478"/>
        <pc:sldMkLst>
          <pc:docMk/>
          <pc:sldMk cId="2471287756" sldId="10369"/>
        </pc:sldMkLst>
        <pc:spChg chg="del">
          <ac:chgData name="Havlicek Petr" userId="9f016b49-f301-4bcf-aeb3-c06418fcfb85" providerId="ADAL" clId="{E61F89C7-A54A-4357-BA8F-577CFB277F23}" dt="2024-10-01T05:41:04.444" v="4506" actId="478"/>
          <ac:spMkLst>
            <pc:docMk/>
            <pc:sldMk cId="2471287756" sldId="10369"/>
            <ac:spMk id="30" creationId="{E0C214C3-E43D-5A40-9C33-5A96B8DE16A9}"/>
          </ac:spMkLst>
        </pc:spChg>
        <pc:spChg chg="mod">
          <ac:chgData name="Havlicek Petr" userId="9f016b49-f301-4bcf-aeb3-c06418fcfb85" providerId="ADAL" clId="{E61F89C7-A54A-4357-BA8F-577CFB277F23}" dt="2024-10-01T05:39:19.010" v="4409" actId="20577"/>
          <ac:spMkLst>
            <pc:docMk/>
            <pc:sldMk cId="2471287756" sldId="10369"/>
            <ac:spMk id="39" creationId="{F71745FA-1507-EF49-84D8-21EFD0FE21FC}"/>
          </ac:spMkLst>
        </pc:spChg>
        <pc:spChg chg="mod">
          <ac:chgData name="Havlicek Petr" userId="9f016b49-f301-4bcf-aeb3-c06418fcfb85" providerId="ADAL" clId="{E61F89C7-A54A-4357-BA8F-577CFB277F23}" dt="2024-10-01T05:39:23.723" v="4412" actId="20577"/>
          <ac:spMkLst>
            <pc:docMk/>
            <pc:sldMk cId="2471287756" sldId="10369"/>
            <ac:spMk id="41" creationId="{085F60EA-A943-1E49-B9B6-CE49E5FAAE32}"/>
          </ac:spMkLst>
        </pc:spChg>
        <pc:spChg chg="add del mod">
          <ac:chgData name="Havlicek Petr" userId="9f016b49-f301-4bcf-aeb3-c06418fcfb85" providerId="ADAL" clId="{E61F89C7-A54A-4357-BA8F-577CFB277F23}" dt="2024-10-01T05:41:08.515" v="4508" actId="478"/>
          <ac:spMkLst>
            <pc:docMk/>
            <pc:sldMk cId="2471287756" sldId="10369"/>
            <ac:spMk id="62" creationId="{AA00AB71-432F-8B83-61A0-7088DC6DB94B}"/>
          </ac:spMkLst>
        </pc:spChg>
        <pc:spChg chg="add mod">
          <ac:chgData name="Havlicek Petr" userId="9f016b49-f301-4bcf-aeb3-c06418fcfb85" providerId="ADAL" clId="{E61F89C7-A54A-4357-BA8F-577CFB277F23}" dt="2024-10-01T05:41:04.811" v="4507"/>
          <ac:spMkLst>
            <pc:docMk/>
            <pc:sldMk cId="2471287756" sldId="10369"/>
            <ac:spMk id="63" creationId="{D24D075E-1021-B25B-B42F-C35B02417D5B}"/>
          </ac:spMkLst>
        </pc:spChg>
      </pc:sldChg>
      <pc:sldChg chg="del">
        <pc:chgData name="Havlicek Petr" userId="9f016b49-f301-4bcf-aeb3-c06418fcfb85" providerId="ADAL" clId="{E61F89C7-A54A-4357-BA8F-577CFB277F23}" dt="2024-10-01T05:32:10.803" v="4321" actId="47"/>
        <pc:sldMkLst>
          <pc:docMk/>
          <pc:sldMk cId="3033462749" sldId="10370"/>
        </pc:sldMkLst>
      </pc:sldChg>
      <pc:sldChg chg="del">
        <pc:chgData name="Havlicek Petr" userId="9f016b49-f301-4bcf-aeb3-c06418fcfb85" providerId="ADAL" clId="{E61F89C7-A54A-4357-BA8F-577CFB277F23}" dt="2024-09-30T17:36:09.852" v="594" actId="47"/>
        <pc:sldMkLst>
          <pc:docMk/>
          <pc:sldMk cId="124936290" sldId="10371"/>
        </pc:sldMkLst>
      </pc:sldChg>
      <pc:sldChg chg="modSp add del mod">
        <pc:chgData name="Havlicek Petr" userId="9f016b49-f301-4bcf-aeb3-c06418fcfb85" providerId="ADAL" clId="{E61F89C7-A54A-4357-BA8F-577CFB277F23}" dt="2024-09-30T17:36:07.569" v="593" actId="47"/>
        <pc:sldMkLst>
          <pc:docMk/>
          <pc:sldMk cId="2519973463" sldId="10372"/>
        </pc:sldMkLst>
        <pc:spChg chg="mod">
          <ac:chgData name="Havlicek Petr" userId="9f016b49-f301-4bcf-aeb3-c06418fcfb85" providerId="ADAL" clId="{E61F89C7-A54A-4357-BA8F-577CFB277F23}" dt="2024-09-30T17:35:15.060" v="568" actId="14100"/>
          <ac:spMkLst>
            <pc:docMk/>
            <pc:sldMk cId="2519973463" sldId="10372"/>
            <ac:spMk id="6" creationId="{08BF652D-EDE2-4FFD-8B68-D5177E34D974}"/>
          </ac:spMkLst>
        </pc:spChg>
      </pc:sldChg>
      <pc:sldChg chg="delSp modSp mod">
        <pc:chgData name="Havlicek Petr" userId="9f016b49-f301-4bcf-aeb3-c06418fcfb85" providerId="ADAL" clId="{E61F89C7-A54A-4357-BA8F-577CFB277F23}" dt="2024-10-01T05:37:22.327" v="4406" actId="1038"/>
        <pc:sldMkLst>
          <pc:docMk/>
          <pc:sldMk cId="2884740471" sldId="10373"/>
        </pc:sldMkLst>
        <pc:spChg chg="mod">
          <ac:chgData name="Havlicek Petr" userId="9f016b49-f301-4bcf-aeb3-c06418fcfb85" providerId="ADAL" clId="{E61F89C7-A54A-4357-BA8F-577CFB277F23}" dt="2024-10-01T05:37:04.373" v="4371" actId="20577"/>
          <ac:spMkLst>
            <pc:docMk/>
            <pc:sldMk cId="2884740471" sldId="10373"/>
            <ac:spMk id="2" creationId="{DBF8F541-2B28-D505-7A2E-08867BFC0805}"/>
          </ac:spMkLst>
        </pc:spChg>
        <pc:spChg chg="del">
          <ac:chgData name="Havlicek Petr" userId="9f016b49-f301-4bcf-aeb3-c06418fcfb85" providerId="ADAL" clId="{E61F89C7-A54A-4357-BA8F-577CFB277F23}" dt="2024-10-01T05:36:51.168" v="4364" actId="478"/>
          <ac:spMkLst>
            <pc:docMk/>
            <pc:sldMk cId="2884740471" sldId="10373"/>
            <ac:spMk id="13" creationId="{22ACB46E-ABD0-18CD-4A7E-2304220DEEBD}"/>
          </ac:spMkLst>
        </pc:spChg>
        <pc:picChg chg="mod">
          <ac:chgData name="Havlicek Petr" userId="9f016b49-f301-4bcf-aeb3-c06418fcfb85" providerId="ADAL" clId="{E61F89C7-A54A-4357-BA8F-577CFB277F23}" dt="2024-10-01T05:37:22.327" v="4406" actId="1038"/>
          <ac:picMkLst>
            <pc:docMk/>
            <pc:sldMk cId="2884740471" sldId="10373"/>
            <ac:picMk id="16" creationId="{55894FDA-6324-26C9-DA18-EA8B3BAEF29B}"/>
          </ac:picMkLst>
        </pc:picChg>
        <pc:picChg chg="mod">
          <ac:chgData name="Havlicek Petr" userId="9f016b49-f301-4bcf-aeb3-c06418fcfb85" providerId="ADAL" clId="{E61F89C7-A54A-4357-BA8F-577CFB277F23}" dt="2024-10-01T05:37:15.543" v="4387" actId="1038"/>
          <ac:picMkLst>
            <pc:docMk/>
            <pc:sldMk cId="2884740471" sldId="10373"/>
            <ac:picMk id="18" creationId="{D7CBDA85-30C8-CF56-D2A2-1011C464E6F9}"/>
          </ac:picMkLst>
        </pc:picChg>
        <pc:picChg chg="mod">
          <ac:chgData name="Havlicek Petr" userId="9f016b49-f301-4bcf-aeb3-c06418fcfb85" providerId="ADAL" clId="{E61F89C7-A54A-4357-BA8F-577CFB277F23}" dt="2024-10-01T05:37:15.543" v="4387" actId="1038"/>
          <ac:picMkLst>
            <pc:docMk/>
            <pc:sldMk cId="2884740471" sldId="10373"/>
            <ac:picMk id="19" creationId="{520DC63D-7792-3288-CD79-AFB3CCAF663A}"/>
          </ac:picMkLst>
        </pc:picChg>
        <pc:picChg chg="mod">
          <ac:chgData name="Havlicek Petr" userId="9f016b49-f301-4bcf-aeb3-c06418fcfb85" providerId="ADAL" clId="{E61F89C7-A54A-4357-BA8F-577CFB277F23}" dt="2024-10-01T05:37:15.543" v="4387" actId="1038"/>
          <ac:picMkLst>
            <pc:docMk/>
            <pc:sldMk cId="2884740471" sldId="10373"/>
            <ac:picMk id="20" creationId="{89B599E2-C693-696A-BE53-F58107796A5D}"/>
          </ac:picMkLst>
        </pc:picChg>
        <pc:picChg chg="mod">
          <ac:chgData name="Havlicek Petr" userId="9f016b49-f301-4bcf-aeb3-c06418fcfb85" providerId="ADAL" clId="{E61F89C7-A54A-4357-BA8F-577CFB277F23}" dt="2024-10-01T05:37:15.543" v="4387" actId="1038"/>
          <ac:picMkLst>
            <pc:docMk/>
            <pc:sldMk cId="2884740471" sldId="10373"/>
            <ac:picMk id="22" creationId="{9D2DAF6D-4A70-8A9B-7275-3FAF1D2AAE20}"/>
          </ac:picMkLst>
        </pc:picChg>
        <pc:picChg chg="mod">
          <ac:chgData name="Havlicek Petr" userId="9f016b49-f301-4bcf-aeb3-c06418fcfb85" providerId="ADAL" clId="{E61F89C7-A54A-4357-BA8F-577CFB277F23}" dt="2024-10-01T05:37:15.543" v="4387" actId="1038"/>
          <ac:picMkLst>
            <pc:docMk/>
            <pc:sldMk cId="2884740471" sldId="10373"/>
            <ac:picMk id="24" creationId="{8156991D-E98E-AA7F-A8EA-D3CD1B106B72}"/>
          </ac:picMkLst>
        </pc:picChg>
      </pc:sldChg>
      <pc:sldChg chg="addSp delSp modSp mod ord delAnim modAnim">
        <pc:chgData name="Havlicek Petr" userId="9f016b49-f301-4bcf-aeb3-c06418fcfb85" providerId="ADAL" clId="{E61F89C7-A54A-4357-BA8F-577CFB277F23}" dt="2024-10-01T04:02:48.249" v="1795"/>
        <pc:sldMkLst>
          <pc:docMk/>
          <pc:sldMk cId="364703365" sldId="10374"/>
        </pc:sldMkLst>
        <pc:spChg chg="add del mod">
          <ac:chgData name="Havlicek Petr" userId="9f016b49-f301-4bcf-aeb3-c06418fcfb85" providerId="ADAL" clId="{E61F89C7-A54A-4357-BA8F-577CFB277F23}" dt="2024-10-01T03:59:57.626" v="1746" actId="478"/>
          <ac:spMkLst>
            <pc:docMk/>
            <pc:sldMk cId="364703365" sldId="10374"/>
            <ac:spMk id="2" creationId="{DBF8F541-2B28-D505-7A2E-08867BFC0805}"/>
          </ac:spMkLst>
        </pc:spChg>
        <pc:spChg chg="add del mod">
          <ac:chgData name="Havlicek Petr" userId="9f016b49-f301-4bcf-aeb3-c06418fcfb85" providerId="ADAL" clId="{E61F89C7-A54A-4357-BA8F-577CFB277F23}" dt="2024-10-01T03:59:44.595" v="1742" actId="478"/>
          <ac:spMkLst>
            <pc:docMk/>
            <pc:sldMk cId="364703365" sldId="10374"/>
            <ac:spMk id="6" creationId="{5EB6A6A8-5BBA-BBE7-21FB-1509868D027D}"/>
          </ac:spMkLst>
        </pc:spChg>
        <pc:spChg chg="add del mod">
          <ac:chgData name="Havlicek Petr" userId="9f016b49-f301-4bcf-aeb3-c06418fcfb85" providerId="ADAL" clId="{E61F89C7-A54A-4357-BA8F-577CFB277F23}" dt="2024-10-01T04:00:00.338" v="1747" actId="478"/>
          <ac:spMkLst>
            <pc:docMk/>
            <pc:sldMk cId="364703365" sldId="10374"/>
            <ac:spMk id="8" creationId="{8208563C-6218-DE95-2985-120859DCC360}"/>
          </ac:spMkLst>
        </pc:spChg>
        <pc:spChg chg="add mod">
          <ac:chgData name="Havlicek Petr" userId="9f016b49-f301-4bcf-aeb3-c06418fcfb85" providerId="ADAL" clId="{E61F89C7-A54A-4357-BA8F-577CFB277F23}" dt="2024-09-30T18:22:15.362" v="1718" actId="1076"/>
          <ac:spMkLst>
            <pc:docMk/>
            <pc:sldMk cId="364703365" sldId="10374"/>
            <ac:spMk id="9" creationId="{80D6FAA2-26DD-1E03-4FDF-A4D50E8D2156}"/>
          </ac:spMkLst>
        </pc:spChg>
        <pc:spChg chg="add mod">
          <ac:chgData name="Havlicek Petr" userId="9f016b49-f301-4bcf-aeb3-c06418fcfb85" providerId="ADAL" clId="{E61F89C7-A54A-4357-BA8F-577CFB277F23}" dt="2024-10-01T04:02:12.973" v="1790" actId="207"/>
          <ac:spMkLst>
            <pc:docMk/>
            <pc:sldMk cId="364703365" sldId="10374"/>
            <ac:spMk id="15" creationId="{27C4E876-87E4-71E4-AC36-8721C39EA5C5}"/>
          </ac:spMkLst>
        </pc:spChg>
        <pc:spChg chg="add mod">
          <ac:chgData name="Havlicek Petr" userId="9f016b49-f301-4bcf-aeb3-c06418fcfb85" providerId="ADAL" clId="{E61F89C7-A54A-4357-BA8F-577CFB277F23}" dt="2024-10-01T04:02:35.116" v="1793" actId="14100"/>
          <ac:spMkLst>
            <pc:docMk/>
            <pc:sldMk cId="364703365" sldId="10374"/>
            <ac:spMk id="17" creationId="{4AA8FDDE-0D86-616E-0C06-46F829AA5C43}"/>
          </ac:spMkLst>
        </pc:spChg>
        <pc:spChg chg="mod">
          <ac:chgData name="Havlicek Petr" userId="9f016b49-f301-4bcf-aeb3-c06418fcfb85" providerId="ADAL" clId="{E61F89C7-A54A-4357-BA8F-577CFB277F23}" dt="2024-10-01T03:57:47.988" v="1739" actId="6549"/>
          <ac:spMkLst>
            <pc:docMk/>
            <pc:sldMk cId="364703365" sldId="10374"/>
            <ac:spMk id="47" creationId="{6C3739BF-95C7-204E-A12D-D276DB784620}"/>
          </ac:spMkLst>
        </pc:spChg>
        <pc:picChg chg="add mod ord">
          <ac:chgData name="Havlicek Petr" userId="9f016b49-f301-4bcf-aeb3-c06418fcfb85" providerId="ADAL" clId="{E61F89C7-A54A-4357-BA8F-577CFB277F23}" dt="2024-10-01T04:01:23.196" v="1754" actId="1076"/>
          <ac:picMkLst>
            <pc:docMk/>
            <pc:sldMk cId="364703365" sldId="10374"/>
            <ac:picMk id="11" creationId="{8BC3D8AE-2A21-B73F-D293-F37AACAC544F}"/>
          </ac:picMkLst>
        </pc:picChg>
        <pc:picChg chg="add mod">
          <ac:chgData name="Havlicek Petr" userId="9f016b49-f301-4bcf-aeb3-c06418fcfb85" providerId="ADAL" clId="{E61F89C7-A54A-4357-BA8F-577CFB277F23}" dt="2024-10-01T04:01:17.797" v="1753" actId="14100"/>
          <ac:picMkLst>
            <pc:docMk/>
            <pc:sldMk cId="364703365" sldId="10374"/>
            <ac:picMk id="14" creationId="{F9118356-5943-84EB-6478-3A82C870F2C8}"/>
          </ac:picMkLst>
        </pc:picChg>
        <pc:picChg chg="del">
          <ac:chgData name="Havlicek Petr" userId="9f016b49-f301-4bcf-aeb3-c06418fcfb85" providerId="ADAL" clId="{E61F89C7-A54A-4357-BA8F-577CFB277F23}" dt="2024-09-30T18:17:15.264" v="1563" actId="478"/>
          <ac:picMkLst>
            <pc:docMk/>
            <pc:sldMk cId="364703365" sldId="10374"/>
            <ac:picMk id="24" creationId="{8156991D-E98E-AA7F-A8EA-D3CD1B106B72}"/>
          </ac:picMkLst>
        </pc:picChg>
        <pc:picChg chg="add del mod">
          <ac:chgData name="Havlicek Petr" userId="9f016b49-f301-4bcf-aeb3-c06418fcfb85" providerId="ADAL" clId="{E61F89C7-A54A-4357-BA8F-577CFB277F23}" dt="2024-10-01T03:59:42.304" v="1741" actId="478"/>
          <ac:picMkLst>
            <pc:docMk/>
            <pc:sldMk cId="364703365" sldId="10374"/>
            <ac:picMk id="3074" creationId="{FD3E2E83-0D6D-0343-85CF-9804A4936A07}"/>
          </ac:picMkLst>
        </pc:picChg>
        <pc:picChg chg="add del">
          <ac:chgData name="Havlicek Petr" userId="9f016b49-f301-4bcf-aeb3-c06418fcfb85" providerId="ADAL" clId="{E61F89C7-A54A-4357-BA8F-577CFB277F23}" dt="2024-09-30T18:20:20.276" v="1599" actId="478"/>
          <ac:picMkLst>
            <pc:docMk/>
            <pc:sldMk cId="364703365" sldId="10374"/>
            <ac:picMk id="3076" creationId="{E90C46DB-38AC-9BEE-345A-3DCBA77459C5}"/>
          </ac:picMkLst>
        </pc:picChg>
      </pc:sldChg>
      <pc:sldChg chg="modSp mod">
        <pc:chgData name="Havlicek Petr" userId="9f016b49-f301-4bcf-aeb3-c06418fcfb85" providerId="ADAL" clId="{E61F89C7-A54A-4357-BA8F-577CFB277F23}" dt="2024-10-01T05:40:55.584" v="4505" actId="6549"/>
        <pc:sldMkLst>
          <pc:docMk/>
          <pc:sldMk cId="3258493767" sldId="10375"/>
        </pc:sldMkLst>
        <pc:spChg chg="mod">
          <ac:chgData name="Havlicek Petr" userId="9f016b49-f301-4bcf-aeb3-c06418fcfb85" providerId="ADAL" clId="{E61F89C7-A54A-4357-BA8F-577CFB277F23}" dt="2024-10-01T05:40:55.584" v="4505" actId="6549"/>
          <ac:spMkLst>
            <pc:docMk/>
            <pc:sldMk cId="3258493767" sldId="10375"/>
            <ac:spMk id="30" creationId="{E0C214C3-E43D-5A40-9C33-5A96B8DE16A9}"/>
          </ac:spMkLst>
        </pc:spChg>
        <pc:spChg chg="mod">
          <ac:chgData name="Havlicek Petr" userId="9f016b49-f301-4bcf-aeb3-c06418fcfb85" providerId="ADAL" clId="{E61F89C7-A54A-4357-BA8F-577CFB277F23}" dt="2024-10-01T05:39:34.774" v="4415" actId="20577"/>
          <ac:spMkLst>
            <pc:docMk/>
            <pc:sldMk cId="3258493767" sldId="10375"/>
            <ac:spMk id="39" creationId="{F71745FA-1507-EF49-84D8-21EFD0FE21FC}"/>
          </ac:spMkLst>
        </pc:spChg>
        <pc:spChg chg="mod">
          <ac:chgData name="Havlicek Petr" userId="9f016b49-f301-4bcf-aeb3-c06418fcfb85" providerId="ADAL" clId="{E61F89C7-A54A-4357-BA8F-577CFB277F23}" dt="2024-10-01T05:39:38.834" v="4418" actId="20577"/>
          <ac:spMkLst>
            <pc:docMk/>
            <pc:sldMk cId="3258493767" sldId="10375"/>
            <ac:spMk id="41" creationId="{085F60EA-A943-1E49-B9B6-CE49E5FAAE32}"/>
          </ac:spMkLst>
        </pc:spChg>
      </pc:sldChg>
      <pc:sldChg chg="addSp delSp modSp mod modAnim">
        <pc:chgData name="Havlicek Petr" userId="9f016b49-f301-4bcf-aeb3-c06418fcfb85" providerId="ADAL" clId="{E61F89C7-A54A-4357-BA8F-577CFB277F23}" dt="2024-09-30T18:06:23.693" v="1030"/>
        <pc:sldMkLst>
          <pc:docMk/>
          <pc:sldMk cId="2304448898" sldId="10378"/>
        </pc:sldMkLst>
        <pc:spChg chg="mod">
          <ac:chgData name="Havlicek Petr" userId="9f016b49-f301-4bcf-aeb3-c06418fcfb85" providerId="ADAL" clId="{E61F89C7-A54A-4357-BA8F-577CFB277F23}" dt="2024-09-30T18:02:30.887" v="1007" actId="14100"/>
          <ac:spMkLst>
            <pc:docMk/>
            <pc:sldMk cId="2304448898" sldId="10378"/>
            <ac:spMk id="2" creationId="{BC43618C-3174-3311-FE0B-AF251CD35FC3}"/>
          </ac:spMkLst>
        </pc:spChg>
        <pc:spChg chg="del">
          <ac:chgData name="Havlicek Petr" userId="9f016b49-f301-4bcf-aeb3-c06418fcfb85" providerId="ADAL" clId="{E61F89C7-A54A-4357-BA8F-577CFB277F23}" dt="2024-09-30T17:53:59.088" v="807" actId="478"/>
          <ac:spMkLst>
            <pc:docMk/>
            <pc:sldMk cId="2304448898" sldId="10378"/>
            <ac:spMk id="6" creationId="{7A53D3F7-F850-E8B8-2A82-9798DFB5D67E}"/>
          </ac:spMkLst>
        </pc:spChg>
        <pc:spChg chg="add del mod">
          <ac:chgData name="Havlicek Petr" userId="9f016b49-f301-4bcf-aeb3-c06418fcfb85" providerId="ADAL" clId="{E61F89C7-A54A-4357-BA8F-577CFB277F23}" dt="2024-09-30T17:57:19.571" v="846" actId="478"/>
          <ac:spMkLst>
            <pc:docMk/>
            <pc:sldMk cId="2304448898" sldId="10378"/>
            <ac:spMk id="7" creationId="{9EA436FE-38D9-36E3-3392-5DF3EB6417B1}"/>
          </ac:spMkLst>
        </pc:spChg>
        <pc:spChg chg="add del mod">
          <ac:chgData name="Havlicek Petr" userId="9f016b49-f301-4bcf-aeb3-c06418fcfb85" providerId="ADAL" clId="{E61F89C7-A54A-4357-BA8F-577CFB277F23}" dt="2024-09-30T17:55:11.399" v="827" actId="478"/>
          <ac:spMkLst>
            <pc:docMk/>
            <pc:sldMk cId="2304448898" sldId="10378"/>
            <ac:spMk id="8" creationId="{7D477011-9137-F627-139C-D28EAB81D998}"/>
          </ac:spMkLst>
        </pc:spChg>
        <pc:spChg chg="add mod">
          <ac:chgData name="Havlicek Petr" userId="9f016b49-f301-4bcf-aeb3-c06418fcfb85" providerId="ADAL" clId="{E61F89C7-A54A-4357-BA8F-577CFB277F23}" dt="2024-09-30T17:58:14.629" v="892" actId="122"/>
          <ac:spMkLst>
            <pc:docMk/>
            <pc:sldMk cId="2304448898" sldId="10378"/>
            <ac:spMk id="9" creationId="{58D8E1D0-CD15-1D5F-8F31-EABBD830AE48}"/>
          </ac:spMkLst>
        </pc:spChg>
        <pc:spChg chg="add mod">
          <ac:chgData name="Havlicek Petr" userId="9f016b49-f301-4bcf-aeb3-c06418fcfb85" providerId="ADAL" clId="{E61F89C7-A54A-4357-BA8F-577CFB277F23}" dt="2024-09-30T17:57:25.278" v="847" actId="1076"/>
          <ac:spMkLst>
            <pc:docMk/>
            <pc:sldMk cId="2304448898" sldId="10378"/>
            <ac:spMk id="10" creationId="{27C87AED-D932-71B5-DFBD-80C02953A1E9}"/>
          </ac:spMkLst>
        </pc:spChg>
        <pc:spChg chg="add mod">
          <ac:chgData name="Havlicek Petr" userId="9f016b49-f301-4bcf-aeb3-c06418fcfb85" providerId="ADAL" clId="{E61F89C7-A54A-4357-BA8F-577CFB277F23}" dt="2024-09-30T17:58:17.421" v="893" actId="122"/>
          <ac:spMkLst>
            <pc:docMk/>
            <pc:sldMk cId="2304448898" sldId="10378"/>
            <ac:spMk id="11" creationId="{DE11496E-301A-E10F-F996-7E65FA835541}"/>
          </ac:spMkLst>
        </pc:spChg>
        <pc:spChg chg="add mod">
          <ac:chgData name="Havlicek Petr" userId="9f016b49-f301-4bcf-aeb3-c06418fcfb85" providerId="ADAL" clId="{E61F89C7-A54A-4357-BA8F-577CFB277F23}" dt="2024-09-30T18:00:03.793" v="942" actId="20577"/>
          <ac:spMkLst>
            <pc:docMk/>
            <pc:sldMk cId="2304448898" sldId="10378"/>
            <ac:spMk id="17" creationId="{18E4356E-DF98-A974-C468-354932E45C1B}"/>
          </ac:spMkLst>
        </pc:spChg>
        <pc:spChg chg="add mod">
          <ac:chgData name="Havlicek Petr" userId="9f016b49-f301-4bcf-aeb3-c06418fcfb85" providerId="ADAL" clId="{E61F89C7-A54A-4357-BA8F-577CFB277F23}" dt="2024-09-30T17:59:30.845" v="915" actId="20577"/>
          <ac:spMkLst>
            <pc:docMk/>
            <pc:sldMk cId="2304448898" sldId="10378"/>
            <ac:spMk id="18" creationId="{7D441DA2-B29E-B9B7-5E4C-57A28F6EED4E}"/>
          </ac:spMkLst>
        </pc:spChg>
        <pc:spChg chg="add mod">
          <ac:chgData name="Havlicek Petr" userId="9f016b49-f301-4bcf-aeb3-c06418fcfb85" providerId="ADAL" clId="{E61F89C7-A54A-4357-BA8F-577CFB277F23}" dt="2024-09-30T17:59:45.430" v="927" actId="6549"/>
          <ac:spMkLst>
            <pc:docMk/>
            <pc:sldMk cId="2304448898" sldId="10378"/>
            <ac:spMk id="19" creationId="{F27B373B-1836-D440-69A1-283B8D0E83D6}"/>
          </ac:spMkLst>
        </pc:spChg>
        <pc:spChg chg="add mod">
          <ac:chgData name="Havlicek Petr" userId="9f016b49-f301-4bcf-aeb3-c06418fcfb85" providerId="ADAL" clId="{E61F89C7-A54A-4357-BA8F-577CFB277F23}" dt="2024-09-30T18:00:21.594" v="954" actId="20577"/>
          <ac:spMkLst>
            <pc:docMk/>
            <pc:sldMk cId="2304448898" sldId="10378"/>
            <ac:spMk id="20" creationId="{3448221C-BE0D-BABE-3067-0A5758653C77}"/>
          </ac:spMkLst>
        </pc:spChg>
        <pc:spChg chg="add mod">
          <ac:chgData name="Havlicek Petr" userId="9f016b49-f301-4bcf-aeb3-c06418fcfb85" providerId="ADAL" clId="{E61F89C7-A54A-4357-BA8F-577CFB277F23}" dt="2024-09-30T18:02:19.298" v="1006" actId="14100"/>
          <ac:spMkLst>
            <pc:docMk/>
            <pc:sldMk cId="2304448898" sldId="10378"/>
            <ac:spMk id="21" creationId="{6E1F42C9-4550-09B1-1720-37FAFD7E38B0}"/>
          </ac:spMkLst>
        </pc:spChg>
        <pc:spChg chg="add mod">
          <ac:chgData name="Havlicek Petr" userId="9f016b49-f301-4bcf-aeb3-c06418fcfb85" providerId="ADAL" clId="{E61F89C7-A54A-4357-BA8F-577CFB277F23}" dt="2024-09-30T18:02:44.207" v="1008" actId="14100"/>
          <ac:spMkLst>
            <pc:docMk/>
            <pc:sldMk cId="2304448898" sldId="10378"/>
            <ac:spMk id="22" creationId="{1067D0CB-AC1F-6C00-F2BD-A13B3DD4F0BF}"/>
          </ac:spMkLst>
        </pc:spChg>
        <pc:spChg chg="add mod">
          <ac:chgData name="Havlicek Petr" userId="9f016b49-f301-4bcf-aeb3-c06418fcfb85" providerId="ADAL" clId="{E61F89C7-A54A-4357-BA8F-577CFB277F23}" dt="2024-09-30T18:05:09.528" v="1021" actId="1076"/>
          <ac:spMkLst>
            <pc:docMk/>
            <pc:sldMk cId="2304448898" sldId="10378"/>
            <ac:spMk id="25" creationId="{7CA2C168-8571-3885-14B7-6543E3205572}"/>
          </ac:spMkLst>
        </pc:spChg>
        <pc:spChg chg="add mod">
          <ac:chgData name="Havlicek Petr" userId="9f016b49-f301-4bcf-aeb3-c06418fcfb85" providerId="ADAL" clId="{E61F89C7-A54A-4357-BA8F-577CFB277F23}" dt="2024-09-30T18:05:19.185" v="1025" actId="1038"/>
          <ac:spMkLst>
            <pc:docMk/>
            <pc:sldMk cId="2304448898" sldId="10378"/>
            <ac:spMk id="26" creationId="{4487E63C-9B06-06AF-3B50-01CF9BC3AA9D}"/>
          </ac:spMkLst>
        </pc:spChg>
        <pc:picChg chg="add mod">
          <ac:chgData name="Havlicek Petr" userId="9f016b49-f301-4bcf-aeb3-c06418fcfb85" providerId="ADAL" clId="{E61F89C7-A54A-4357-BA8F-577CFB277F23}" dt="2024-09-30T18:05:39.223" v="1027" actId="1076"/>
          <ac:picMkLst>
            <pc:docMk/>
            <pc:sldMk cId="2304448898" sldId="10378"/>
            <ac:picMk id="24" creationId="{5223A0A1-F365-A978-E315-9FA9995DFA41}"/>
          </ac:picMkLst>
        </pc:picChg>
        <pc:cxnChg chg="add mod">
          <ac:chgData name="Havlicek Petr" userId="9f016b49-f301-4bcf-aeb3-c06418fcfb85" providerId="ADAL" clId="{E61F89C7-A54A-4357-BA8F-577CFB277F23}" dt="2024-09-30T17:58:44.814" v="896" actId="1582"/>
          <ac:cxnSpMkLst>
            <pc:docMk/>
            <pc:sldMk cId="2304448898" sldId="10378"/>
            <ac:cxnSpMk id="13" creationId="{69868552-0A48-F677-BC22-66A5DD2A706A}"/>
          </ac:cxnSpMkLst>
        </pc:cxnChg>
        <pc:cxnChg chg="add mod">
          <ac:chgData name="Havlicek Petr" userId="9f016b49-f301-4bcf-aeb3-c06418fcfb85" providerId="ADAL" clId="{E61F89C7-A54A-4357-BA8F-577CFB277F23}" dt="2024-09-30T17:58:53.439" v="899" actId="14100"/>
          <ac:cxnSpMkLst>
            <pc:docMk/>
            <pc:sldMk cId="2304448898" sldId="10378"/>
            <ac:cxnSpMk id="14" creationId="{DF6C14C2-7D2A-2DA9-7295-8F540EDF2309}"/>
          </ac:cxnSpMkLst>
        </pc:cxnChg>
      </pc:sldChg>
      <pc:sldChg chg="ord">
        <pc:chgData name="Havlicek Petr" userId="9f016b49-f301-4bcf-aeb3-c06418fcfb85" providerId="ADAL" clId="{E61F89C7-A54A-4357-BA8F-577CFB277F23}" dt="2024-09-30T17:51:43.805" v="777"/>
        <pc:sldMkLst>
          <pc:docMk/>
          <pc:sldMk cId="3390954998" sldId="10392"/>
        </pc:sldMkLst>
      </pc:sldChg>
      <pc:sldChg chg="ord">
        <pc:chgData name="Havlicek Petr" userId="9f016b49-f301-4bcf-aeb3-c06418fcfb85" providerId="ADAL" clId="{E61F89C7-A54A-4357-BA8F-577CFB277F23}" dt="2024-09-30T17:38:12.537" v="597"/>
        <pc:sldMkLst>
          <pc:docMk/>
          <pc:sldMk cId="752649611" sldId="10394"/>
        </pc:sldMkLst>
      </pc:sldChg>
      <pc:sldChg chg="modSp add mod">
        <pc:chgData name="Havlicek Petr" userId="9f016b49-f301-4bcf-aeb3-c06418fcfb85" providerId="ADAL" clId="{E61F89C7-A54A-4357-BA8F-577CFB277F23}" dt="2024-09-30T17:36:36.139" v="595" actId="207"/>
        <pc:sldMkLst>
          <pc:docMk/>
          <pc:sldMk cId="564816597" sldId="10395"/>
        </pc:sldMkLst>
        <pc:graphicFrameChg chg="modGraphic">
          <ac:chgData name="Havlicek Petr" userId="9f016b49-f301-4bcf-aeb3-c06418fcfb85" providerId="ADAL" clId="{E61F89C7-A54A-4357-BA8F-577CFB277F23}" dt="2024-09-30T17:36:36.139" v="595" actId="207"/>
          <ac:graphicFrameMkLst>
            <pc:docMk/>
            <pc:sldMk cId="564816597" sldId="10395"/>
            <ac:graphicFrameMk id="2" creationId="{C60640F5-E7F4-34AF-A40C-EA70046B1798}"/>
          </ac:graphicFrameMkLst>
        </pc:graphicFrameChg>
      </pc:sldChg>
      <pc:sldChg chg="modSp add mod">
        <pc:chgData name="Havlicek Petr" userId="9f016b49-f301-4bcf-aeb3-c06418fcfb85" providerId="ADAL" clId="{E61F89C7-A54A-4357-BA8F-577CFB277F23}" dt="2024-09-30T17:52:46.274" v="806" actId="20577"/>
        <pc:sldMkLst>
          <pc:docMk/>
          <pc:sldMk cId="485676639" sldId="10396"/>
        </pc:sldMkLst>
        <pc:spChg chg="mod">
          <ac:chgData name="Havlicek Petr" userId="9f016b49-f301-4bcf-aeb3-c06418fcfb85" providerId="ADAL" clId="{E61F89C7-A54A-4357-BA8F-577CFB277F23}" dt="2024-09-30T17:52:46.274" v="806" actId="20577"/>
          <ac:spMkLst>
            <pc:docMk/>
            <pc:sldMk cId="485676639" sldId="10396"/>
            <ac:spMk id="3" creationId="{52FFBD17-132F-B842-9523-A311F4D009B7}"/>
          </ac:spMkLst>
        </pc:spChg>
      </pc:sldChg>
      <pc:sldChg chg="addSp delSp modSp new mod ord">
        <pc:chgData name="Havlicek Petr" userId="9f016b49-f301-4bcf-aeb3-c06418fcfb85" providerId="ADAL" clId="{E61F89C7-A54A-4357-BA8F-577CFB277F23}" dt="2024-10-01T05:34:11.918" v="4323" actId="20577"/>
        <pc:sldMkLst>
          <pc:docMk/>
          <pc:sldMk cId="527078147" sldId="10397"/>
        </pc:sldMkLst>
        <pc:spChg chg="mod">
          <ac:chgData name="Havlicek Petr" userId="9f016b49-f301-4bcf-aeb3-c06418fcfb85" providerId="ADAL" clId="{E61F89C7-A54A-4357-BA8F-577CFB277F23}" dt="2024-09-30T17:42:56.417" v="696" actId="20577"/>
          <ac:spMkLst>
            <pc:docMk/>
            <pc:sldMk cId="527078147" sldId="10397"/>
            <ac:spMk id="3" creationId="{7D8FAF92-C744-B79F-ADDA-CCA75526F02E}"/>
          </ac:spMkLst>
        </pc:spChg>
        <pc:spChg chg="mod">
          <ac:chgData name="Havlicek Petr" userId="9f016b49-f301-4bcf-aeb3-c06418fcfb85" providerId="ADAL" clId="{E61F89C7-A54A-4357-BA8F-577CFB277F23}" dt="2024-09-30T17:50:26.903" v="761" actId="14100"/>
          <ac:spMkLst>
            <pc:docMk/>
            <pc:sldMk cId="527078147" sldId="10397"/>
            <ac:spMk id="4" creationId="{778BFE50-FE3E-7BEA-C998-0FDA664824A2}"/>
          </ac:spMkLst>
        </pc:spChg>
        <pc:spChg chg="add del">
          <ac:chgData name="Havlicek Petr" userId="9f016b49-f301-4bcf-aeb3-c06418fcfb85" providerId="ADAL" clId="{E61F89C7-A54A-4357-BA8F-577CFB277F23}" dt="2024-09-30T17:45:00.003" v="738"/>
          <ac:spMkLst>
            <pc:docMk/>
            <pc:sldMk cId="527078147" sldId="10397"/>
            <ac:spMk id="5" creationId="{49FB657F-9D1E-882F-F2E0-98133EEAEE41}"/>
          </ac:spMkLst>
        </pc:spChg>
        <pc:spChg chg="del">
          <ac:chgData name="Havlicek Petr" userId="9f016b49-f301-4bcf-aeb3-c06418fcfb85" providerId="ADAL" clId="{E61F89C7-A54A-4357-BA8F-577CFB277F23}" dt="2024-09-30T17:45:34.613" v="740"/>
          <ac:spMkLst>
            <pc:docMk/>
            <pc:sldMk cId="527078147" sldId="10397"/>
            <ac:spMk id="6" creationId="{995FBE19-7C84-AB1B-C8EA-59C5B5672CF9}"/>
          </ac:spMkLst>
        </pc:spChg>
        <pc:spChg chg="del">
          <ac:chgData name="Havlicek Petr" userId="9f016b49-f301-4bcf-aeb3-c06418fcfb85" providerId="ADAL" clId="{E61F89C7-A54A-4357-BA8F-577CFB277F23}" dt="2024-09-30T17:48:03.886" v="741"/>
          <ac:spMkLst>
            <pc:docMk/>
            <pc:sldMk cId="527078147" sldId="10397"/>
            <ac:spMk id="7" creationId="{A73257BC-CFF5-1594-911A-AFD82FE7DAEB}"/>
          </ac:spMkLst>
        </pc:spChg>
        <pc:spChg chg="mod">
          <ac:chgData name="Havlicek Petr" userId="9f016b49-f301-4bcf-aeb3-c06418fcfb85" providerId="ADAL" clId="{E61F89C7-A54A-4357-BA8F-577CFB277F23}" dt="2024-10-01T05:34:11.918" v="4323" actId="20577"/>
          <ac:spMkLst>
            <pc:docMk/>
            <pc:sldMk cId="527078147" sldId="10397"/>
            <ac:spMk id="8" creationId="{4CC56769-8489-B8A2-5D06-65B9050CCACA}"/>
          </ac:spMkLst>
        </pc:spChg>
        <pc:spChg chg="mod">
          <ac:chgData name="Havlicek Petr" userId="9f016b49-f301-4bcf-aeb3-c06418fcfb85" providerId="ADAL" clId="{E61F89C7-A54A-4357-BA8F-577CFB277F23}" dt="2024-09-30T17:50:26.903" v="761" actId="14100"/>
          <ac:spMkLst>
            <pc:docMk/>
            <pc:sldMk cId="527078147" sldId="10397"/>
            <ac:spMk id="9" creationId="{2F169CE6-2637-D24E-2319-695448BFC921}"/>
          </ac:spMkLst>
        </pc:spChg>
        <pc:picChg chg="add mod">
          <ac:chgData name="Havlicek Petr" userId="9f016b49-f301-4bcf-aeb3-c06418fcfb85" providerId="ADAL" clId="{E61F89C7-A54A-4357-BA8F-577CFB277F23}" dt="2024-09-30T17:44:16.141" v="728"/>
          <ac:picMkLst>
            <pc:docMk/>
            <pc:sldMk cId="527078147" sldId="10397"/>
            <ac:picMk id="12" creationId="{755EB3A5-ACA9-3C74-9C7B-EF3233CC132B}"/>
          </ac:picMkLst>
        </pc:picChg>
        <pc:picChg chg="add del mod">
          <ac:chgData name="Havlicek Petr" userId="9f016b49-f301-4bcf-aeb3-c06418fcfb85" providerId="ADAL" clId="{E61F89C7-A54A-4357-BA8F-577CFB277F23}" dt="2024-09-30T17:45:04.171" v="739" actId="478"/>
          <ac:picMkLst>
            <pc:docMk/>
            <pc:sldMk cId="527078147" sldId="10397"/>
            <ac:picMk id="13" creationId="{1DDEE5A9-2C56-74A5-B9F0-F193F37E1525}"/>
          </ac:picMkLst>
        </pc:picChg>
        <pc:picChg chg="add mod">
          <ac:chgData name="Havlicek Petr" userId="9f016b49-f301-4bcf-aeb3-c06418fcfb85" providerId="ADAL" clId="{E61F89C7-A54A-4357-BA8F-577CFB277F23}" dt="2024-09-30T17:44:46.775" v="736"/>
          <ac:picMkLst>
            <pc:docMk/>
            <pc:sldMk cId="527078147" sldId="10397"/>
            <ac:picMk id="14" creationId="{C63FE69C-1C7D-AF5C-3972-EDC4B05E9A51}"/>
          </ac:picMkLst>
        </pc:picChg>
        <pc:picChg chg="add mod">
          <ac:chgData name="Havlicek Petr" userId="9f016b49-f301-4bcf-aeb3-c06418fcfb85" providerId="ADAL" clId="{E61F89C7-A54A-4357-BA8F-577CFB277F23}" dt="2024-09-30T17:50:39.428" v="762" actId="1076"/>
          <ac:picMkLst>
            <pc:docMk/>
            <pc:sldMk cId="527078147" sldId="10397"/>
            <ac:picMk id="15" creationId="{D3D4CF0A-9737-C257-B4AE-92BE7D650FE1}"/>
          </ac:picMkLst>
        </pc:picChg>
        <pc:picChg chg="add mod">
          <ac:chgData name="Havlicek Petr" userId="9f016b49-f301-4bcf-aeb3-c06418fcfb85" providerId="ADAL" clId="{E61F89C7-A54A-4357-BA8F-577CFB277F23}" dt="2024-09-30T17:50:39.428" v="762" actId="1076"/>
          <ac:picMkLst>
            <pc:docMk/>
            <pc:sldMk cId="527078147" sldId="10397"/>
            <ac:picMk id="16" creationId="{F3CE672E-7ACF-81D5-AC7C-24E278F30095}"/>
          </ac:picMkLst>
        </pc:picChg>
        <pc:picChg chg="add mod">
          <ac:chgData name="Havlicek Petr" userId="9f016b49-f301-4bcf-aeb3-c06418fcfb85" providerId="ADAL" clId="{E61F89C7-A54A-4357-BA8F-577CFB277F23}" dt="2024-09-30T17:50:39.428" v="762" actId="1076"/>
          <ac:picMkLst>
            <pc:docMk/>
            <pc:sldMk cId="527078147" sldId="10397"/>
            <ac:picMk id="17" creationId="{09E2BA3C-8F85-36BE-7148-92A8CAD7A4C4}"/>
          </ac:picMkLst>
        </pc:picChg>
      </pc:sldChg>
      <pc:sldChg chg="add del">
        <pc:chgData name="Havlicek Petr" userId="9f016b49-f301-4bcf-aeb3-c06418fcfb85" providerId="ADAL" clId="{E61F89C7-A54A-4357-BA8F-577CFB277F23}" dt="2024-09-30T17:40:39.696" v="652" actId="2890"/>
        <pc:sldMkLst>
          <pc:docMk/>
          <pc:sldMk cId="4112335638" sldId="10397"/>
        </pc:sldMkLst>
      </pc:sldChg>
      <pc:sldChg chg="addSp delSp modSp new mod">
        <pc:chgData name="Havlicek Petr" userId="9f016b49-f301-4bcf-aeb3-c06418fcfb85" providerId="ADAL" clId="{E61F89C7-A54A-4357-BA8F-577CFB277F23}" dt="2024-09-30T18:15:39.184" v="1456" actId="403"/>
        <pc:sldMkLst>
          <pc:docMk/>
          <pc:sldMk cId="1723516863" sldId="10398"/>
        </pc:sldMkLst>
        <pc:spChg chg="del">
          <ac:chgData name="Havlicek Petr" userId="9f016b49-f301-4bcf-aeb3-c06418fcfb85" providerId="ADAL" clId="{E61F89C7-A54A-4357-BA8F-577CFB277F23}" dt="2024-09-30T18:07:52.110" v="1032"/>
          <ac:spMkLst>
            <pc:docMk/>
            <pc:sldMk cId="1723516863" sldId="10398"/>
            <ac:spMk id="2" creationId="{34396035-7950-48CA-01AE-58687D5B3593}"/>
          </ac:spMkLst>
        </pc:spChg>
        <pc:spChg chg="del">
          <ac:chgData name="Havlicek Petr" userId="9f016b49-f301-4bcf-aeb3-c06418fcfb85" providerId="ADAL" clId="{E61F89C7-A54A-4357-BA8F-577CFB277F23}" dt="2024-09-30T18:08:44.872" v="1034" actId="478"/>
          <ac:spMkLst>
            <pc:docMk/>
            <pc:sldMk cId="1723516863" sldId="10398"/>
            <ac:spMk id="6" creationId="{5BDD395E-BBC1-46F3-C1A8-4B3C4BDB75C0}"/>
          </ac:spMkLst>
        </pc:spChg>
        <pc:spChg chg="add mod">
          <ac:chgData name="Havlicek Petr" userId="9f016b49-f301-4bcf-aeb3-c06418fcfb85" providerId="ADAL" clId="{E61F89C7-A54A-4357-BA8F-577CFB277F23}" dt="2024-09-30T18:08:01.156" v="1033" actId="14100"/>
          <ac:spMkLst>
            <pc:docMk/>
            <pc:sldMk cId="1723516863" sldId="10398"/>
            <ac:spMk id="7" creationId="{366B3B5F-FE95-BF3F-399B-CF7132027850}"/>
          </ac:spMkLst>
        </pc:spChg>
        <pc:spChg chg="add mod">
          <ac:chgData name="Havlicek Petr" userId="9f016b49-f301-4bcf-aeb3-c06418fcfb85" providerId="ADAL" clId="{E61F89C7-A54A-4357-BA8F-577CFB277F23}" dt="2024-09-30T18:14:47.321" v="1373" actId="20577"/>
          <ac:spMkLst>
            <pc:docMk/>
            <pc:sldMk cId="1723516863" sldId="10398"/>
            <ac:spMk id="9" creationId="{2C67C5C3-B58E-340B-F9B7-6B4368D1CCFA}"/>
          </ac:spMkLst>
        </pc:spChg>
        <pc:spChg chg="add mod">
          <ac:chgData name="Havlicek Petr" userId="9f016b49-f301-4bcf-aeb3-c06418fcfb85" providerId="ADAL" clId="{E61F89C7-A54A-4357-BA8F-577CFB277F23}" dt="2024-09-30T18:14:34.811" v="1367" actId="20577"/>
          <ac:spMkLst>
            <pc:docMk/>
            <pc:sldMk cId="1723516863" sldId="10398"/>
            <ac:spMk id="10" creationId="{43CDD5AB-7A19-192B-0BE3-3C8562B4CDFC}"/>
          </ac:spMkLst>
        </pc:spChg>
        <pc:spChg chg="add mod">
          <ac:chgData name="Havlicek Petr" userId="9f016b49-f301-4bcf-aeb3-c06418fcfb85" providerId="ADAL" clId="{E61F89C7-A54A-4357-BA8F-577CFB277F23}" dt="2024-09-30T18:14:16.670" v="1305" actId="1038"/>
          <ac:spMkLst>
            <pc:docMk/>
            <pc:sldMk cId="1723516863" sldId="10398"/>
            <ac:spMk id="11" creationId="{C0D87CBA-226F-8028-834E-E3AC31C3C483}"/>
          </ac:spMkLst>
        </pc:spChg>
        <pc:spChg chg="add mod ord">
          <ac:chgData name="Havlicek Petr" userId="9f016b49-f301-4bcf-aeb3-c06418fcfb85" providerId="ADAL" clId="{E61F89C7-A54A-4357-BA8F-577CFB277F23}" dt="2024-09-30T18:14:16.670" v="1305" actId="1038"/>
          <ac:spMkLst>
            <pc:docMk/>
            <pc:sldMk cId="1723516863" sldId="10398"/>
            <ac:spMk id="12" creationId="{5BA36B47-CB2A-574F-21BD-F90C18D7805C}"/>
          </ac:spMkLst>
        </pc:spChg>
        <pc:spChg chg="add mod">
          <ac:chgData name="Havlicek Petr" userId="9f016b49-f301-4bcf-aeb3-c06418fcfb85" providerId="ADAL" clId="{E61F89C7-A54A-4357-BA8F-577CFB277F23}" dt="2024-09-30T18:14:16.670" v="1305" actId="1038"/>
          <ac:spMkLst>
            <pc:docMk/>
            <pc:sldMk cId="1723516863" sldId="10398"/>
            <ac:spMk id="13" creationId="{0C3C18E2-DA7E-872A-E9FA-1EA55763A14A}"/>
          </ac:spMkLst>
        </pc:spChg>
        <pc:spChg chg="add mod">
          <ac:chgData name="Havlicek Petr" userId="9f016b49-f301-4bcf-aeb3-c06418fcfb85" providerId="ADAL" clId="{E61F89C7-A54A-4357-BA8F-577CFB277F23}" dt="2024-09-30T18:15:39.184" v="1456" actId="403"/>
          <ac:spMkLst>
            <pc:docMk/>
            <pc:sldMk cId="1723516863" sldId="10398"/>
            <ac:spMk id="14" creationId="{528C86FE-EBBE-FEF2-2F28-4CB7FE00A66D}"/>
          </ac:spMkLst>
        </pc:spChg>
        <pc:picChg chg="add mod">
          <ac:chgData name="Havlicek Petr" userId="9f016b49-f301-4bcf-aeb3-c06418fcfb85" providerId="ADAL" clId="{E61F89C7-A54A-4357-BA8F-577CFB277F23}" dt="2024-09-30T18:14:16.670" v="1305" actId="1038"/>
          <ac:picMkLst>
            <pc:docMk/>
            <pc:sldMk cId="1723516863" sldId="10398"/>
            <ac:picMk id="8" creationId="{A9ACE5F2-C8FC-6249-610E-2EACF5B2A6B4}"/>
          </ac:picMkLst>
        </pc:picChg>
      </pc:sldChg>
      <pc:sldChg chg="addSp modSp add mod modAnim">
        <pc:chgData name="Havlicek Petr" userId="9f016b49-f301-4bcf-aeb3-c06418fcfb85" providerId="ADAL" clId="{E61F89C7-A54A-4357-BA8F-577CFB277F23}" dt="2024-10-01T04:03:28.114" v="1798"/>
        <pc:sldMkLst>
          <pc:docMk/>
          <pc:sldMk cId="3849429438" sldId="10399"/>
        </pc:sldMkLst>
        <pc:spChg chg="mod">
          <ac:chgData name="Havlicek Petr" userId="9f016b49-f301-4bcf-aeb3-c06418fcfb85" providerId="ADAL" clId="{E61F89C7-A54A-4357-BA8F-577CFB277F23}" dt="2024-10-01T03:57:57.608" v="1740" actId="6549"/>
          <ac:spMkLst>
            <pc:docMk/>
            <pc:sldMk cId="3849429438" sldId="10399"/>
            <ac:spMk id="47" creationId="{6C3739BF-95C7-204E-A12D-D276DB784620}"/>
          </ac:spMkLst>
        </pc:spChg>
        <pc:picChg chg="add mod">
          <ac:chgData name="Havlicek Petr" userId="9f016b49-f301-4bcf-aeb3-c06418fcfb85" providerId="ADAL" clId="{E61F89C7-A54A-4357-BA8F-577CFB277F23}" dt="2024-10-01T04:03:24.051" v="1797" actId="1076"/>
          <ac:picMkLst>
            <pc:docMk/>
            <pc:sldMk cId="3849429438" sldId="10399"/>
            <ac:picMk id="7" creationId="{FF650FC5-58CB-9085-BFE8-297D128DC00A}"/>
          </ac:picMkLst>
        </pc:picChg>
      </pc:sldChg>
      <pc:sldChg chg="addSp delSp modSp new mod">
        <pc:chgData name="Havlicek Petr" userId="9f016b49-f301-4bcf-aeb3-c06418fcfb85" providerId="ADAL" clId="{E61F89C7-A54A-4357-BA8F-577CFB277F23}" dt="2024-10-01T04:17:18.238" v="1943" actId="478"/>
        <pc:sldMkLst>
          <pc:docMk/>
          <pc:sldMk cId="760255849" sldId="10400"/>
        </pc:sldMkLst>
        <pc:spChg chg="mod">
          <ac:chgData name="Havlicek Petr" userId="9f016b49-f301-4bcf-aeb3-c06418fcfb85" providerId="ADAL" clId="{E61F89C7-A54A-4357-BA8F-577CFB277F23}" dt="2024-10-01T04:14:00.583" v="1806"/>
          <ac:spMkLst>
            <pc:docMk/>
            <pc:sldMk cId="760255849" sldId="10400"/>
            <ac:spMk id="2" creationId="{E49BE853-C02E-7CBB-AF53-9C5ED0F4D768}"/>
          </ac:spMkLst>
        </pc:spChg>
        <pc:spChg chg="add mod">
          <ac:chgData name="Havlicek Petr" userId="9f016b49-f301-4bcf-aeb3-c06418fcfb85" providerId="ADAL" clId="{E61F89C7-A54A-4357-BA8F-577CFB277F23}" dt="2024-10-01T04:14:58.915" v="1881" actId="6549"/>
          <ac:spMkLst>
            <pc:docMk/>
            <pc:sldMk cId="760255849" sldId="10400"/>
            <ac:spMk id="11" creationId="{0F2B3FDC-03FD-DEEB-3126-8A3508C6AF72}"/>
          </ac:spMkLst>
        </pc:spChg>
        <pc:spChg chg="add del mod">
          <ac:chgData name="Havlicek Petr" userId="9f016b49-f301-4bcf-aeb3-c06418fcfb85" providerId="ADAL" clId="{E61F89C7-A54A-4357-BA8F-577CFB277F23}" dt="2024-10-01T04:17:18.238" v="1943" actId="478"/>
          <ac:spMkLst>
            <pc:docMk/>
            <pc:sldMk cId="760255849" sldId="10400"/>
            <ac:spMk id="12" creationId="{5E9DAF33-CDAD-CCC4-ACBB-DB1C9E9FBF66}"/>
          </ac:spMkLst>
        </pc:spChg>
        <pc:spChg chg="add mod">
          <ac:chgData name="Havlicek Petr" userId="9f016b49-f301-4bcf-aeb3-c06418fcfb85" providerId="ADAL" clId="{E61F89C7-A54A-4357-BA8F-577CFB277F23}" dt="2024-10-01T04:16:48.413" v="1942" actId="207"/>
          <ac:spMkLst>
            <pc:docMk/>
            <pc:sldMk cId="760255849" sldId="10400"/>
            <ac:spMk id="13" creationId="{47D76795-B879-5020-6884-00364A79B6AD}"/>
          </ac:spMkLst>
        </pc:spChg>
        <pc:grpChg chg="add mod">
          <ac:chgData name="Havlicek Petr" userId="9f016b49-f301-4bcf-aeb3-c06418fcfb85" providerId="ADAL" clId="{E61F89C7-A54A-4357-BA8F-577CFB277F23}" dt="2024-10-01T04:13:49.796" v="1805" actId="1076"/>
          <ac:grpSpMkLst>
            <pc:docMk/>
            <pc:sldMk cId="760255849" sldId="10400"/>
            <ac:grpSpMk id="10" creationId="{87F37C42-8DAB-F41E-E2E2-89D34F611571}"/>
          </ac:grpSpMkLst>
        </pc:grpChg>
        <pc:picChg chg="add mod">
          <ac:chgData name="Havlicek Petr" userId="9f016b49-f301-4bcf-aeb3-c06418fcfb85" providerId="ADAL" clId="{E61F89C7-A54A-4357-BA8F-577CFB277F23}" dt="2024-10-01T04:07:28.693" v="1803" actId="164"/>
          <ac:picMkLst>
            <pc:docMk/>
            <pc:sldMk cId="760255849" sldId="10400"/>
            <ac:picMk id="7" creationId="{A2270422-824A-828B-FD97-F54B3A5B9D55}"/>
          </ac:picMkLst>
        </pc:picChg>
        <pc:picChg chg="add mod">
          <ac:chgData name="Havlicek Petr" userId="9f016b49-f301-4bcf-aeb3-c06418fcfb85" providerId="ADAL" clId="{E61F89C7-A54A-4357-BA8F-577CFB277F23}" dt="2024-10-01T04:07:28.693" v="1803" actId="164"/>
          <ac:picMkLst>
            <pc:docMk/>
            <pc:sldMk cId="760255849" sldId="10400"/>
            <ac:picMk id="9" creationId="{8BCB70E3-BE83-CFC4-8650-FBB141DCD5A6}"/>
          </ac:picMkLst>
        </pc:picChg>
      </pc:sldChg>
      <pc:sldChg chg="addSp delSp modSp add mod">
        <pc:chgData name="Havlicek Petr" userId="9f016b49-f301-4bcf-aeb3-c06418fcfb85" providerId="ADAL" clId="{E61F89C7-A54A-4357-BA8F-577CFB277F23}" dt="2024-10-01T05:43:24.977" v="4514" actId="1076"/>
        <pc:sldMkLst>
          <pc:docMk/>
          <pc:sldMk cId="1841579832" sldId="10401"/>
        </pc:sldMkLst>
        <pc:spChg chg="add mod">
          <ac:chgData name="Havlicek Petr" userId="9f016b49-f301-4bcf-aeb3-c06418fcfb85" providerId="ADAL" clId="{E61F89C7-A54A-4357-BA8F-577CFB277F23}" dt="2024-10-01T05:42:45.702" v="4510" actId="1076"/>
          <ac:spMkLst>
            <pc:docMk/>
            <pc:sldMk cId="1841579832" sldId="10401"/>
            <ac:spMk id="6" creationId="{4E4AF28C-BA71-FABA-DB0B-D93DE779E100}"/>
          </ac:spMkLst>
        </pc:spChg>
        <pc:spChg chg="del mod">
          <ac:chgData name="Havlicek Petr" userId="9f016b49-f301-4bcf-aeb3-c06418fcfb85" providerId="ADAL" clId="{E61F89C7-A54A-4357-BA8F-577CFB277F23}" dt="2024-10-01T05:42:40.959" v="4509" actId="478"/>
          <ac:spMkLst>
            <pc:docMk/>
            <pc:sldMk cId="1841579832" sldId="10401"/>
            <ac:spMk id="11" creationId="{0F2B3FDC-03FD-DEEB-3126-8A3508C6AF72}"/>
          </ac:spMkLst>
        </pc:spChg>
        <pc:spChg chg="del">
          <ac:chgData name="Havlicek Petr" userId="9f016b49-f301-4bcf-aeb3-c06418fcfb85" providerId="ADAL" clId="{E61F89C7-A54A-4357-BA8F-577CFB277F23}" dt="2024-10-01T04:17:27.294" v="1945" actId="478"/>
          <ac:spMkLst>
            <pc:docMk/>
            <pc:sldMk cId="1841579832" sldId="10401"/>
            <ac:spMk id="13" creationId="{47D76795-B879-5020-6884-00364A79B6AD}"/>
          </ac:spMkLst>
        </pc:spChg>
        <pc:grpChg chg="del">
          <ac:chgData name="Havlicek Petr" userId="9f016b49-f301-4bcf-aeb3-c06418fcfb85" providerId="ADAL" clId="{E61F89C7-A54A-4357-BA8F-577CFB277F23}" dt="2024-10-01T04:17:28.350" v="1946" actId="478"/>
          <ac:grpSpMkLst>
            <pc:docMk/>
            <pc:sldMk cId="1841579832" sldId="10401"/>
            <ac:grpSpMk id="10" creationId="{87F37C42-8DAB-F41E-E2E2-89D34F611571}"/>
          </ac:grpSpMkLst>
        </pc:grpChg>
        <pc:picChg chg="add mod">
          <ac:chgData name="Havlicek Petr" userId="9f016b49-f301-4bcf-aeb3-c06418fcfb85" providerId="ADAL" clId="{E61F89C7-A54A-4357-BA8F-577CFB277F23}" dt="2024-10-01T05:43:24.977" v="4514" actId="1076"/>
          <ac:picMkLst>
            <pc:docMk/>
            <pc:sldMk cId="1841579832" sldId="10401"/>
            <ac:picMk id="12" creationId="{1FE9FEE4-4B9E-4863-9ED9-877119D61379}"/>
          </ac:picMkLst>
        </pc:picChg>
      </pc:sldChg>
      <pc:sldChg chg="addSp delSp modSp new mod ord modAnim">
        <pc:chgData name="Havlicek Petr" userId="9f016b49-f301-4bcf-aeb3-c06418fcfb85" providerId="ADAL" clId="{E61F89C7-A54A-4357-BA8F-577CFB277F23}" dt="2024-10-01T05:44:04.532" v="4516"/>
        <pc:sldMkLst>
          <pc:docMk/>
          <pc:sldMk cId="702491460" sldId="10402"/>
        </pc:sldMkLst>
        <pc:spChg chg="mod">
          <ac:chgData name="Havlicek Petr" userId="9f016b49-f301-4bcf-aeb3-c06418fcfb85" providerId="ADAL" clId="{E61F89C7-A54A-4357-BA8F-577CFB277F23}" dt="2024-10-01T04:29:39.483" v="2211" actId="14100"/>
          <ac:spMkLst>
            <pc:docMk/>
            <pc:sldMk cId="702491460" sldId="10402"/>
            <ac:spMk id="2" creationId="{E1611E6B-AD15-CD58-95B0-D3F4E89A9BA8}"/>
          </ac:spMkLst>
        </pc:spChg>
        <pc:spChg chg="add mod">
          <ac:chgData name="Havlicek Petr" userId="9f016b49-f301-4bcf-aeb3-c06418fcfb85" providerId="ADAL" clId="{E61F89C7-A54A-4357-BA8F-577CFB277F23}" dt="2024-10-01T05:24:28.874" v="3550" actId="1076"/>
          <ac:spMkLst>
            <pc:docMk/>
            <pc:sldMk cId="702491460" sldId="10402"/>
            <ac:spMk id="12" creationId="{0E9FD9C8-4E9F-AA3D-FB47-2FFF3DE46FA2}"/>
          </ac:spMkLst>
        </pc:spChg>
        <pc:graphicFrameChg chg="add mod">
          <ac:chgData name="Havlicek Petr" userId="9f016b49-f301-4bcf-aeb3-c06418fcfb85" providerId="ADAL" clId="{E61F89C7-A54A-4357-BA8F-577CFB277F23}" dt="2024-10-01T04:27:42.013" v="2185"/>
          <ac:graphicFrameMkLst>
            <pc:docMk/>
            <pc:sldMk cId="702491460" sldId="10402"/>
            <ac:graphicFrameMk id="6" creationId="{2502038A-C3B7-B4F8-FB9E-0E88BB6DE053}"/>
          </ac:graphicFrameMkLst>
        </pc:graphicFrameChg>
        <pc:graphicFrameChg chg="add del mod modGraphic">
          <ac:chgData name="Havlicek Petr" userId="9f016b49-f301-4bcf-aeb3-c06418fcfb85" providerId="ADAL" clId="{E61F89C7-A54A-4357-BA8F-577CFB277F23}" dt="2024-10-01T04:28:16.067" v="2191" actId="478"/>
          <ac:graphicFrameMkLst>
            <pc:docMk/>
            <pc:sldMk cId="702491460" sldId="10402"/>
            <ac:graphicFrameMk id="7" creationId="{3AE3B35C-43FE-C7F8-463E-70C3E4711EC4}"/>
          </ac:graphicFrameMkLst>
        </pc:graphicFrameChg>
        <pc:graphicFrameChg chg="add mod">
          <ac:chgData name="Havlicek Petr" userId="9f016b49-f301-4bcf-aeb3-c06418fcfb85" providerId="ADAL" clId="{E61F89C7-A54A-4357-BA8F-577CFB277F23}" dt="2024-10-01T04:28:25.665" v="2192"/>
          <ac:graphicFrameMkLst>
            <pc:docMk/>
            <pc:sldMk cId="702491460" sldId="10402"/>
            <ac:graphicFrameMk id="8" creationId="{B64E1263-DBD3-BDD2-4381-87B7887AF03D}"/>
          </ac:graphicFrameMkLst>
        </pc:graphicFrameChg>
        <pc:graphicFrameChg chg="add del mod modGraphic">
          <ac:chgData name="Havlicek Petr" userId="9f016b49-f301-4bcf-aeb3-c06418fcfb85" providerId="ADAL" clId="{E61F89C7-A54A-4357-BA8F-577CFB277F23}" dt="2024-10-01T04:33:13.643" v="2217" actId="478"/>
          <ac:graphicFrameMkLst>
            <pc:docMk/>
            <pc:sldMk cId="702491460" sldId="10402"/>
            <ac:graphicFrameMk id="9" creationId="{46866B28-3C25-857E-540B-A7247B5F208F}"/>
          </ac:graphicFrameMkLst>
        </pc:graphicFrameChg>
        <pc:graphicFrameChg chg="add mod">
          <ac:chgData name="Havlicek Petr" userId="9f016b49-f301-4bcf-aeb3-c06418fcfb85" providerId="ADAL" clId="{E61F89C7-A54A-4357-BA8F-577CFB277F23}" dt="2024-10-01T04:33:22.950" v="2218"/>
          <ac:graphicFrameMkLst>
            <pc:docMk/>
            <pc:sldMk cId="702491460" sldId="10402"/>
            <ac:graphicFrameMk id="10" creationId="{29574D19-8285-74F1-30FD-35128C29E186}"/>
          </ac:graphicFrameMkLst>
        </pc:graphicFrameChg>
        <pc:graphicFrameChg chg="add mod modGraphic">
          <ac:chgData name="Havlicek Petr" userId="9f016b49-f301-4bcf-aeb3-c06418fcfb85" providerId="ADAL" clId="{E61F89C7-A54A-4357-BA8F-577CFB277F23}" dt="2024-10-01T04:35:16.433" v="2236" actId="1076"/>
          <ac:graphicFrameMkLst>
            <pc:docMk/>
            <pc:sldMk cId="702491460" sldId="10402"/>
            <ac:graphicFrameMk id="11" creationId="{F0DEA10E-6BE5-BB5C-F54D-A00152EBF595}"/>
          </ac:graphicFrameMkLst>
        </pc:graphicFrameChg>
        <pc:graphicFrameChg chg="add mod modGraphic">
          <ac:chgData name="Havlicek Petr" userId="9f016b49-f301-4bcf-aeb3-c06418fcfb85" providerId="ADAL" clId="{E61F89C7-A54A-4357-BA8F-577CFB277F23}" dt="2024-10-01T05:24:03.067" v="3546" actId="122"/>
          <ac:graphicFrameMkLst>
            <pc:docMk/>
            <pc:sldMk cId="702491460" sldId="10402"/>
            <ac:graphicFrameMk id="13" creationId="{BE97631B-C254-F0BC-4E02-D9D84E729376}"/>
          </ac:graphicFrameMkLst>
        </pc:graphicFrameChg>
      </pc:sldChg>
      <pc:sldChg chg="delSp modSp add mod">
        <pc:chgData name="Havlicek Petr" userId="9f016b49-f301-4bcf-aeb3-c06418fcfb85" providerId="ADAL" clId="{E61F89C7-A54A-4357-BA8F-577CFB277F23}" dt="2024-10-01T05:46:54.971" v="4532" actId="20577"/>
        <pc:sldMkLst>
          <pc:docMk/>
          <pc:sldMk cId="4094002214" sldId="10403"/>
        </pc:sldMkLst>
        <pc:spChg chg="del">
          <ac:chgData name="Havlicek Petr" userId="9f016b49-f301-4bcf-aeb3-c06418fcfb85" providerId="ADAL" clId="{E61F89C7-A54A-4357-BA8F-577CFB277F23}" dt="2024-10-01T04:47:21.408" v="2890" actId="478"/>
          <ac:spMkLst>
            <pc:docMk/>
            <pc:sldMk cId="4094002214" sldId="10403"/>
            <ac:spMk id="8" creationId="{47ADBA18-A5E5-8898-3F0D-55249D3B29FD}"/>
          </ac:spMkLst>
        </pc:spChg>
        <pc:spChg chg="del">
          <ac:chgData name="Havlicek Petr" userId="9f016b49-f301-4bcf-aeb3-c06418fcfb85" providerId="ADAL" clId="{E61F89C7-A54A-4357-BA8F-577CFB277F23}" dt="2024-10-01T04:47:24.564" v="2891" actId="478"/>
          <ac:spMkLst>
            <pc:docMk/>
            <pc:sldMk cId="4094002214" sldId="10403"/>
            <ac:spMk id="9" creationId="{0FF70932-0E1A-77A8-6DD2-F9896B99E9B1}"/>
          </ac:spMkLst>
        </pc:spChg>
        <pc:spChg chg="mod">
          <ac:chgData name="Havlicek Petr" userId="9f016b49-f301-4bcf-aeb3-c06418fcfb85" providerId="ADAL" clId="{E61F89C7-A54A-4357-BA8F-577CFB277F23}" dt="2024-10-01T05:46:54.971" v="4532" actId="20577"/>
          <ac:spMkLst>
            <pc:docMk/>
            <pc:sldMk cId="4094002214" sldId="10403"/>
            <ac:spMk id="10" creationId="{646181AF-082B-36A6-BFD9-B065B8B81EDC}"/>
          </ac:spMkLst>
        </pc:spChg>
      </pc:sldChg>
      <pc:sldChg chg="addSp delSp modSp add mod modAnim">
        <pc:chgData name="Havlicek Petr" userId="9f016b49-f301-4bcf-aeb3-c06418fcfb85" providerId="ADAL" clId="{E61F89C7-A54A-4357-BA8F-577CFB277F23}" dt="2024-10-01T05:48:01.291" v="4545" actId="20577"/>
        <pc:sldMkLst>
          <pc:docMk/>
          <pc:sldMk cId="770370680" sldId="10404"/>
        </pc:sldMkLst>
        <pc:spChg chg="mod">
          <ac:chgData name="Havlicek Petr" userId="9f016b49-f301-4bcf-aeb3-c06418fcfb85" providerId="ADAL" clId="{E61F89C7-A54A-4357-BA8F-577CFB277F23}" dt="2024-10-01T04:49:12.328" v="2925" actId="20577"/>
          <ac:spMkLst>
            <pc:docMk/>
            <pc:sldMk cId="770370680" sldId="10404"/>
            <ac:spMk id="2" creationId="{E2F4CC3A-DC06-E9D0-F6B9-0E89104BBB99}"/>
          </ac:spMkLst>
        </pc:spChg>
        <pc:spChg chg="del">
          <ac:chgData name="Havlicek Petr" userId="9f016b49-f301-4bcf-aeb3-c06418fcfb85" providerId="ADAL" clId="{E61F89C7-A54A-4357-BA8F-577CFB277F23}" dt="2024-10-01T04:56:14.237" v="3267" actId="478"/>
          <ac:spMkLst>
            <pc:docMk/>
            <pc:sldMk cId="770370680" sldId="10404"/>
            <ac:spMk id="4" creationId="{8430B281-A18E-0FF2-3885-9CAD81A5AD6A}"/>
          </ac:spMkLst>
        </pc:spChg>
        <pc:spChg chg="mod ord">
          <ac:chgData name="Havlicek Petr" userId="9f016b49-f301-4bcf-aeb3-c06418fcfb85" providerId="ADAL" clId="{E61F89C7-A54A-4357-BA8F-577CFB277F23}" dt="2024-10-01T04:53:05.766" v="3170" actId="1035"/>
          <ac:spMkLst>
            <pc:docMk/>
            <pc:sldMk cId="770370680" sldId="10404"/>
            <ac:spMk id="6" creationId="{061491A1-4D78-93FE-412E-3A12206D3F15}"/>
          </ac:spMkLst>
        </pc:spChg>
        <pc:spChg chg="add mod">
          <ac:chgData name="Havlicek Petr" userId="9f016b49-f301-4bcf-aeb3-c06418fcfb85" providerId="ADAL" clId="{E61F89C7-A54A-4357-BA8F-577CFB277F23}" dt="2024-10-01T04:53:05.766" v="3170" actId="1035"/>
          <ac:spMkLst>
            <pc:docMk/>
            <pc:sldMk cId="770370680" sldId="10404"/>
            <ac:spMk id="9" creationId="{D46E3330-10B7-57BC-BA2E-95CDD398A245}"/>
          </ac:spMkLst>
        </pc:spChg>
        <pc:spChg chg="mod">
          <ac:chgData name="Havlicek Petr" userId="9f016b49-f301-4bcf-aeb3-c06418fcfb85" providerId="ADAL" clId="{E61F89C7-A54A-4357-BA8F-577CFB277F23}" dt="2024-10-01T05:02:46.636" v="3432" actId="1076"/>
          <ac:spMkLst>
            <pc:docMk/>
            <pc:sldMk cId="770370680" sldId="10404"/>
            <ac:spMk id="10" creationId="{646181AF-082B-36A6-BFD9-B065B8B81EDC}"/>
          </ac:spMkLst>
        </pc:spChg>
        <pc:spChg chg="add mod">
          <ac:chgData name="Havlicek Petr" userId="9f016b49-f301-4bcf-aeb3-c06418fcfb85" providerId="ADAL" clId="{E61F89C7-A54A-4357-BA8F-577CFB277F23}" dt="2024-10-01T04:53:05.766" v="3170" actId="1035"/>
          <ac:spMkLst>
            <pc:docMk/>
            <pc:sldMk cId="770370680" sldId="10404"/>
            <ac:spMk id="11" creationId="{3410065E-88C0-5E24-7A6F-385947AB84FF}"/>
          </ac:spMkLst>
        </pc:spChg>
        <pc:spChg chg="add mod">
          <ac:chgData name="Havlicek Petr" userId="9f016b49-f301-4bcf-aeb3-c06418fcfb85" providerId="ADAL" clId="{E61F89C7-A54A-4357-BA8F-577CFB277F23}" dt="2024-10-01T04:53:05.766" v="3170" actId="1035"/>
          <ac:spMkLst>
            <pc:docMk/>
            <pc:sldMk cId="770370680" sldId="10404"/>
            <ac:spMk id="12" creationId="{A4B55C1B-27CA-D7BE-85BB-06742128C7C0}"/>
          </ac:spMkLst>
        </pc:spChg>
        <pc:spChg chg="add mod">
          <ac:chgData name="Havlicek Petr" userId="9f016b49-f301-4bcf-aeb3-c06418fcfb85" providerId="ADAL" clId="{E61F89C7-A54A-4357-BA8F-577CFB277F23}" dt="2024-10-01T04:53:44.223" v="3174" actId="1076"/>
          <ac:spMkLst>
            <pc:docMk/>
            <pc:sldMk cId="770370680" sldId="10404"/>
            <ac:spMk id="14" creationId="{7C46271C-FACA-5ADD-EFB0-F902CA48496E}"/>
          </ac:spMkLst>
        </pc:spChg>
        <pc:spChg chg="add mod">
          <ac:chgData name="Havlicek Petr" userId="9f016b49-f301-4bcf-aeb3-c06418fcfb85" providerId="ADAL" clId="{E61F89C7-A54A-4357-BA8F-577CFB277F23}" dt="2024-10-01T05:08:45.764" v="3485" actId="1035"/>
          <ac:spMkLst>
            <pc:docMk/>
            <pc:sldMk cId="770370680" sldId="10404"/>
            <ac:spMk id="15" creationId="{AC5B9286-654D-192D-37C0-880B9F7940EF}"/>
          </ac:spMkLst>
        </pc:spChg>
        <pc:spChg chg="add mod">
          <ac:chgData name="Havlicek Petr" userId="9f016b49-f301-4bcf-aeb3-c06418fcfb85" providerId="ADAL" clId="{E61F89C7-A54A-4357-BA8F-577CFB277F23}" dt="2024-10-01T04:53:44.223" v="3174" actId="1076"/>
          <ac:spMkLst>
            <pc:docMk/>
            <pc:sldMk cId="770370680" sldId="10404"/>
            <ac:spMk id="16" creationId="{62B09D2A-63BD-8C03-BC99-2AF6CDAEE2B4}"/>
          </ac:spMkLst>
        </pc:spChg>
        <pc:spChg chg="add mod">
          <ac:chgData name="Havlicek Petr" userId="9f016b49-f301-4bcf-aeb3-c06418fcfb85" providerId="ADAL" clId="{E61F89C7-A54A-4357-BA8F-577CFB277F23}" dt="2024-10-01T05:08:20.432" v="3470"/>
          <ac:spMkLst>
            <pc:docMk/>
            <pc:sldMk cId="770370680" sldId="10404"/>
            <ac:spMk id="17" creationId="{40B815AC-EFEC-1A56-8DF6-F37195E9EC8E}"/>
          </ac:spMkLst>
        </pc:spChg>
        <pc:spChg chg="add mod">
          <ac:chgData name="Havlicek Petr" userId="9f016b49-f301-4bcf-aeb3-c06418fcfb85" providerId="ADAL" clId="{E61F89C7-A54A-4357-BA8F-577CFB277F23}" dt="2024-10-01T05:01:14.622" v="3424" actId="20577"/>
          <ac:spMkLst>
            <pc:docMk/>
            <pc:sldMk cId="770370680" sldId="10404"/>
            <ac:spMk id="18" creationId="{A9ADDDBB-24A0-4AF0-85B2-2FEA79FAA030}"/>
          </ac:spMkLst>
        </pc:spChg>
        <pc:spChg chg="add mod">
          <ac:chgData name="Havlicek Petr" userId="9f016b49-f301-4bcf-aeb3-c06418fcfb85" providerId="ADAL" clId="{E61F89C7-A54A-4357-BA8F-577CFB277F23}" dt="2024-10-01T05:08:39.905" v="3483" actId="1036"/>
          <ac:spMkLst>
            <pc:docMk/>
            <pc:sldMk cId="770370680" sldId="10404"/>
            <ac:spMk id="21" creationId="{44361B8C-4194-FA73-4196-5295018464B8}"/>
          </ac:spMkLst>
        </pc:spChg>
        <pc:spChg chg="add mod">
          <ac:chgData name="Havlicek Petr" userId="9f016b49-f301-4bcf-aeb3-c06418fcfb85" providerId="ADAL" clId="{E61F89C7-A54A-4357-BA8F-577CFB277F23}" dt="2024-10-01T05:21:46.902" v="3496" actId="1076"/>
          <ac:spMkLst>
            <pc:docMk/>
            <pc:sldMk cId="770370680" sldId="10404"/>
            <ac:spMk id="24" creationId="{C8C94626-C5B4-B12B-FBE2-7D6C43C467D9}"/>
          </ac:spMkLst>
        </pc:spChg>
        <pc:spChg chg="add mod">
          <ac:chgData name="Havlicek Petr" userId="9f016b49-f301-4bcf-aeb3-c06418fcfb85" providerId="ADAL" clId="{E61F89C7-A54A-4357-BA8F-577CFB277F23}" dt="2024-10-01T05:48:01.291" v="4545" actId="20577"/>
          <ac:spMkLst>
            <pc:docMk/>
            <pc:sldMk cId="770370680" sldId="10404"/>
            <ac:spMk id="25" creationId="{BE81457A-FE6D-76ED-8949-500A95E227F0}"/>
          </ac:spMkLst>
        </pc:spChg>
        <pc:picChg chg="del">
          <ac:chgData name="Havlicek Petr" userId="9f016b49-f301-4bcf-aeb3-c06418fcfb85" providerId="ADAL" clId="{E61F89C7-A54A-4357-BA8F-577CFB277F23}" dt="2024-10-01T04:49:15.972" v="2926" actId="478"/>
          <ac:picMkLst>
            <pc:docMk/>
            <pc:sldMk cId="770370680" sldId="10404"/>
            <ac:picMk id="7" creationId="{2F97CDAE-3BD7-B37B-8BE4-76E2E966DAB7}"/>
          </ac:picMkLst>
        </pc:picChg>
        <pc:picChg chg="add mod">
          <ac:chgData name="Havlicek Petr" userId="9f016b49-f301-4bcf-aeb3-c06418fcfb85" providerId="ADAL" clId="{E61F89C7-A54A-4357-BA8F-577CFB277F23}" dt="2024-10-01T04:53:05.766" v="3170" actId="1035"/>
          <ac:picMkLst>
            <pc:docMk/>
            <pc:sldMk cId="770370680" sldId="10404"/>
            <ac:picMk id="8" creationId="{0CA31A0A-F249-D1C9-C980-80A7758B6F2D}"/>
          </ac:picMkLst>
        </pc:picChg>
        <pc:picChg chg="add mod">
          <ac:chgData name="Havlicek Petr" userId="9f016b49-f301-4bcf-aeb3-c06418fcfb85" providerId="ADAL" clId="{E61F89C7-A54A-4357-BA8F-577CFB277F23}" dt="2024-10-01T04:53:28.404" v="3172" actId="1076"/>
          <ac:picMkLst>
            <pc:docMk/>
            <pc:sldMk cId="770370680" sldId="10404"/>
            <ac:picMk id="13" creationId="{C21DA37C-7B60-7980-28DB-A187B74AE06B}"/>
          </ac:picMkLst>
        </pc:picChg>
        <pc:picChg chg="add mod">
          <ac:chgData name="Havlicek Petr" userId="9f016b49-f301-4bcf-aeb3-c06418fcfb85" providerId="ADAL" clId="{E61F89C7-A54A-4357-BA8F-577CFB277F23}" dt="2024-10-01T05:01:00.419" v="3409" actId="208"/>
          <ac:picMkLst>
            <pc:docMk/>
            <pc:sldMk cId="770370680" sldId="10404"/>
            <ac:picMk id="19" creationId="{119E77C5-6AAE-CD85-B6D7-3403B6C3AF94}"/>
          </ac:picMkLst>
        </pc:picChg>
        <pc:picChg chg="add mod">
          <ac:chgData name="Havlicek Petr" userId="9f016b49-f301-4bcf-aeb3-c06418fcfb85" providerId="ADAL" clId="{E61F89C7-A54A-4357-BA8F-577CFB277F23}" dt="2024-10-01T05:00:50.059" v="3407" actId="207"/>
          <ac:picMkLst>
            <pc:docMk/>
            <pc:sldMk cId="770370680" sldId="10404"/>
            <ac:picMk id="20" creationId="{55BB43AE-528C-1673-4CF7-BDF4E0722C4D}"/>
          </ac:picMkLst>
        </pc:picChg>
        <pc:picChg chg="add mod">
          <ac:chgData name="Havlicek Petr" userId="9f016b49-f301-4bcf-aeb3-c06418fcfb85" providerId="ADAL" clId="{E61F89C7-A54A-4357-BA8F-577CFB277F23}" dt="2024-10-01T05:07:48.240" v="3467" actId="14100"/>
          <ac:picMkLst>
            <pc:docMk/>
            <pc:sldMk cId="770370680" sldId="10404"/>
            <ac:picMk id="23" creationId="{824ADB4F-9FFC-23B3-6BE4-55E204F81D33}"/>
          </ac:picMkLst>
        </pc:picChg>
      </pc:sldChg>
      <pc:sldChg chg="modSp new mod">
        <pc:chgData name="Havlicek Petr" userId="9f016b49-f301-4bcf-aeb3-c06418fcfb85" providerId="ADAL" clId="{E61F89C7-A54A-4357-BA8F-577CFB277F23}" dt="2024-10-01T05:31:50.826" v="4319" actId="20577"/>
        <pc:sldMkLst>
          <pc:docMk/>
          <pc:sldMk cId="1115225665" sldId="10405"/>
        </pc:sldMkLst>
        <pc:spChg chg="mod">
          <ac:chgData name="Havlicek Petr" userId="9f016b49-f301-4bcf-aeb3-c06418fcfb85" providerId="ADAL" clId="{E61F89C7-A54A-4357-BA8F-577CFB277F23}" dt="2024-10-01T05:25:24.418" v="3585" actId="20577"/>
          <ac:spMkLst>
            <pc:docMk/>
            <pc:sldMk cId="1115225665" sldId="10405"/>
            <ac:spMk id="2" creationId="{6BC0B403-0C54-4F51-86C8-C6DD1CD6BF3C}"/>
          </ac:spMkLst>
        </pc:spChg>
        <pc:spChg chg="mod">
          <ac:chgData name="Havlicek Petr" userId="9f016b49-f301-4bcf-aeb3-c06418fcfb85" providerId="ADAL" clId="{E61F89C7-A54A-4357-BA8F-577CFB277F23}" dt="2024-10-01T05:31:50.826" v="4319" actId="20577"/>
          <ac:spMkLst>
            <pc:docMk/>
            <pc:sldMk cId="1115225665" sldId="10405"/>
            <ac:spMk id="6" creationId="{56D03D68-E9AC-AADF-1D20-BC7CBFBD4154}"/>
          </ac:spMkLst>
        </pc:spChg>
      </pc:sldChg>
      <pc:sldMasterChg chg="delSldLayout">
        <pc:chgData name="Havlicek Petr" userId="9f016b49-f301-4bcf-aeb3-c06418fcfb85" providerId="ADAL" clId="{E61F89C7-A54A-4357-BA8F-577CFB277F23}" dt="2024-10-01T05:31:06.992" v="4266" actId="47"/>
        <pc:sldMasterMkLst>
          <pc:docMk/>
          <pc:sldMasterMk cId="1867589774" sldId="2147483672"/>
        </pc:sldMasterMkLst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997993784" sldId="2147483781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520293770" sldId="2147483782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3873175481" sldId="2147483783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2087057630" sldId="2147483784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2396593963" sldId="2147483786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2689118458" sldId="2147483787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1344694406" sldId="2147483788"/>
          </pc:sldLayoutMkLst>
        </pc:sldLayoutChg>
        <pc:sldLayoutChg chg="del">
          <pc:chgData name="Havlicek Petr" userId="9f016b49-f301-4bcf-aeb3-c06418fcfb85" providerId="ADAL" clId="{E61F89C7-A54A-4357-BA8F-577CFB277F23}" dt="2024-10-01T05:31:06.992" v="4266" actId="47"/>
          <pc:sldLayoutMkLst>
            <pc:docMk/>
            <pc:sldMasterMk cId="1867589774" sldId="2147483672"/>
            <pc:sldLayoutMk cId="12142527" sldId="214748378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BF59F9B-3B44-4370-9C4C-BA4C3102AA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7BEE7A-2620-4EA7-BB7B-14C0D90691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7FA8E-4FF7-4B5B-830F-65AC78C46B32}" type="datetimeFigureOut">
              <a:rPr lang="de-DE" smtClean="0"/>
              <a:t>30.09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02969D-6E75-45BC-9779-31A77DA910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5624CA-0FEF-4F20-A9E3-4EB10998429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0B4D6-4DF7-43EF-BD03-9C1F94C67F6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4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E5BFA-28E9-454A-AE4C-1B802997AD1D}" type="datetimeFigureOut">
              <a:rPr lang="en-US" smtClean="0"/>
              <a:t>9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811ED4-C5C8-4573-8EA8-36BB55C2D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003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latin typeface="Tahoma" panose="020B0604030504040204" pitchFamily="34" charset="0"/>
              </a:rPr>
              <a:t>The recommended validation method was:</a:t>
            </a:r>
          </a:p>
          <a:p>
            <a:pPr algn="l"/>
            <a:r>
              <a:rPr lang="en-US" sz="1800" b="0" i="0" u="none" strike="noStrike" baseline="0" dirty="0">
                <a:latin typeface="SymbolMT"/>
              </a:rPr>
              <a:t>•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validation on the same day of primary PPS, so that the availability of data was as similar as possible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between the primary PPS and the validation PPS;</a:t>
            </a:r>
          </a:p>
          <a:p>
            <a:pPr algn="l"/>
            <a:r>
              <a:rPr lang="en-US" sz="1800" b="0" i="0" u="none" strike="noStrike" baseline="0" dirty="0">
                <a:latin typeface="SymbolMT"/>
              </a:rPr>
              <a:t>•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blinded, meaning no communication between the primary PPS staff and the national validation team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regarding individual patient results, so that validation teams were not influenced by the judgement of the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primary team and that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primary PPS results would not be `corrected’ according to the findings of the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cs-CZ" sz="1800" b="0" i="0" u="none" strike="noStrike" baseline="0" dirty="0" err="1">
                <a:latin typeface="Tahoma" panose="020B0604030504040204" pitchFamily="34" charset="0"/>
              </a:rPr>
              <a:t>validation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team;</a:t>
            </a:r>
          </a:p>
          <a:p>
            <a:pPr algn="l"/>
            <a:r>
              <a:rPr lang="en-US" sz="1800" b="0" i="0" u="none" strike="noStrike" baseline="0" dirty="0">
                <a:latin typeface="SymbolMT"/>
              </a:rPr>
              <a:t>• </a:t>
            </a:r>
            <a:r>
              <a:rPr lang="en-US" sz="1800" b="0" i="0" u="none" strike="noStrike" baseline="0" dirty="0" err="1">
                <a:latin typeface="Tahoma" panose="020B0604030504040204" pitchFamily="34" charset="0"/>
              </a:rPr>
              <a:t>prioritise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 wards with high HAI prevalence to increase the precision of the estimates (higher number of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cs-CZ" sz="1800" b="0" i="0" u="none" strike="noStrike" baseline="0" dirty="0" err="1">
                <a:latin typeface="Tahoma" panose="020B0604030504040204" pitchFamily="34" charset="0"/>
              </a:rPr>
              <a:t>expected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 </a:t>
            </a:r>
            <a:r>
              <a:rPr lang="cs-CZ" sz="1800" b="0" i="0" u="none" strike="noStrike" baseline="0" dirty="0" err="1">
                <a:latin typeface="Tahoma" panose="020B0604030504040204" pitchFamily="34" charset="0"/>
              </a:rPr>
              <a:t>HAIs</a:t>
            </a:r>
            <a:r>
              <a:rPr lang="cs-CZ" sz="1800" b="0" i="0" u="none" strike="noStrike" baseline="0" dirty="0">
                <a:latin typeface="Tahoma" panose="020B0604030504040204" pitchFamily="34" charset="0"/>
              </a:rPr>
              <a:t>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613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homas</a:t>
            </a:r>
            <a:endParaRPr lang="en-US"/>
          </a:p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1ED4-C5C8-4573-8EA8-36BB55C2DD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669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8736BE-8233-8D40-9551-2C322FF44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em zadejte nadpis 
aktuální prezentace
Calibri Bold – 36 b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00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AABC5D-E9F1-4C72-9C21-B46E9546B99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3EC293-36DC-46B7-A520-1E2555F6BD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076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20AF98-9AF3-4526-B110-01A377C3C97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6A170C-6AF9-4374-9CFF-3579F1D3225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64A675-DFFD-46D8-9FD8-67343485DA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0560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1E0D63-99ED-4C38-9A7B-5F987DD3B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BCD8D5-DDE7-4CFD-8230-68C4D986C2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74FA8D-9C59-4C59-B941-BE1A97BEEA2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3668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3987-AF78-49CB-83A9-384E14C88F9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578DB8-B4B8-4C9D-B23E-5ACD4B5FD7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3E777C-8994-40FF-B1F0-E50C70469E7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</p:spTree>
    <p:extLst>
      <p:ext uri="{BB962C8B-B14F-4D97-AF65-F5344CB8AC3E}">
        <p14:creationId xmlns:p14="http://schemas.microsoft.com/office/powerpoint/2010/main" val="3391469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92987-6FF8-4C6B-9A24-EBA347C0A1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FCD923-F05F-4EAB-8FA8-3AA9674B90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34989B-5E7B-4BE0-B41F-9D79E831735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ŘIDAT PODNADPIS</a:t>
            </a:r>
          </a:p>
        </p:txBody>
      </p:sp>
    </p:spTree>
    <p:extLst>
      <p:ext uri="{BB962C8B-B14F-4D97-AF65-F5344CB8AC3E}">
        <p14:creationId xmlns:p14="http://schemas.microsoft.com/office/powerpoint/2010/main" val="4190860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Místo pro graf/grafiku/tabulku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Přidat nadpi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8A43D6-D33A-4F4E-983E-4B49AD66F23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B8BC93-1A26-4F31-A77F-942E280C66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CBCDEC-DC2A-464B-A415-BE611CBB08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706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+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AB8D4A5-D657-A74C-8FCE-FDFB29794635}"/>
              </a:ext>
            </a:extLst>
          </p:cNvPr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Místo pro obrázek</a:t>
            </a:r>
          </a:p>
        </p:txBody>
      </p:sp>
    </p:spTree>
    <p:extLst>
      <p:ext uri="{BB962C8B-B14F-4D97-AF65-F5344CB8AC3E}">
        <p14:creationId xmlns:p14="http://schemas.microsoft.com/office/powerpoint/2010/main" val="87654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307EB0F8-9A9A-CC44-ABC2-48AF62A5C0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0688" y="0"/>
            <a:ext cx="5021312" cy="6858000"/>
          </a:xfrm>
          <a:custGeom>
            <a:avLst/>
            <a:gdLst>
              <a:gd name="connsiteX0" fmla="*/ 4273599 w 5021312"/>
              <a:gd name="connsiteY0" fmla="*/ 6379369 h 6858000"/>
              <a:gd name="connsiteX1" fmla="*/ 3852117 w 5021312"/>
              <a:gd name="connsiteY1" fmla="*/ 6552010 h 6858000"/>
              <a:gd name="connsiteX2" fmla="*/ 4273599 w 5021312"/>
              <a:gd name="connsiteY2" fmla="*/ 6724651 h 6858000"/>
              <a:gd name="connsiteX3" fmla="*/ 4437659 w 5021312"/>
              <a:gd name="connsiteY3" fmla="*/ 6711084 h 6858000"/>
              <a:gd name="connsiteX4" fmla="*/ 4450424 w 5021312"/>
              <a:gd name="connsiteY4" fmla="*/ 6708246 h 6858000"/>
              <a:gd name="connsiteX5" fmla="*/ 4463213 w 5021312"/>
              <a:gd name="connsiteY5" fmla="*/ 6722260 h 6858000"/>
              <a:gd name="connsiteX6" fmla="*/ 4509939 w 5021312"/>
              <a:gd name="connsiteY6" fmla="*/ 6736558 h 6858000"/>
              <a:gd name="connsiteX7" fmla="*/ 4576019 w 5021312"/>
              <a:gd name="connsiteY7" fmla="*/ 6687742 h 6858000"/>
              <a:gd name="connsiteX8" fmla="*/ 4572209 w 5021312"/>
              <a:gd name="connsiteY8" fmla="*/ 6673799 h 6858000"/>
              <a:gd name="connsiteX9" fmla="*/ 4623098 w 5021312"/>
              <a:gd name="connsiteY9" fmla="*/ 6648535 h 6858000"/>
              <a:gd name="connsiteX10" fmla="*/ 4695081 w 5021312"/>
              <a:gd name="connsiteY10" fmla="*/ 6552010 h 6858000"/>
              <a:gd name="connsiteX11" fmla="*/ 4273599 w 5021312"/>
              <a:gd name="connsiteY11" fmla="*/ 6379369 h 6858000"/>
              <a:gd name="connsiteX12" fmla="*/ 819551 w 5021312"/>
              <a:gd name="connsiteY12" fmla="*/ 0 h 6858000"/>
              <a:gd name="connsiteX13" fmla="*/ 5021312 w 5021312"/>
              <a:gd name="connsiteY13" fmla="*/ 0 h 6858000"/>
              <a:gd name="connsiteX14" fmla="*/ 5021312 w 5021312"/>
              <a:gd name="connsiteY14" fmla="*/ 6858000 h 6858000"/>
              <a:gd name="connsiteX15" fmla="*/ 819512 w 5021312"/>
              <a:gd name="connsiteY15" fmla="*/ 6858000 h 6858000"/>
              <a:gd name="connsiteX16" fmla="*/ 792683 w 5021312"/>
              <a:gd name="connsiteY16" fmla="*/ 6806944 h 6858000"/>
              <a:gd name="connsiteX17" fmla="*/ 0 w 5021312"/>
              <a:gd name="connsiteY17" fmla="*/ 3429000 h 6858000"/>
              <a:gd name="connsiteX18" fmla="*/ 792683 w 5021312"/>
              <a:gd name="connsiteY18" fmla="*/ 51056 h 6858000"/>
              <a:gd name="connsiteX19" fmla="*/ 804640 w 5021312"/>
              <a:gd name="connsiteY19" fmla="*/ 28302 h 6858000"/>
              <a:gd name="connsiteX20" fmla="*/ 805177 w 5021312"/>
              <a:gd name="connsiteY20" fmla="*/ 28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21312" h="6858000">
                <a:moveTo>
                  <a:pt x="4273599" y="6379369"/>
                </a:moveTo>
                <a:cubicBezTo>
                  <a:pt x="4040821" y="6379369"/>
                  <a:pt x="3852117" y="6456663"/>
                  <a:pt x="3852117" y="6552010"/>
                </a:cubicBezTo>
                <a:cubicBezTo>
                  <a:pt x="3852117" y="6647357"/>
                  <a:pt x="4040821" y="6724651"/>
                  <a:pt x="4273599" y="6724651"/>
                </a:cubicBezTo>
                <a:cubicBezTo>
                  <a:pt x="4331794" y="6724651"/>
                  <a:pt x="4387233" y="6719820"/>
                  <a:pt x="4437659" y="6711084"/>
                </a:cubicBezTo>
                <a:lnTo>
                  <a:pt x="4450424" y="6708246"/>
                </a:lnTo>
                <a:lnTo>
                  <a:pt x="4463213" y="6722260"/>
                </a:lnTo>
                <a:cubicBezTo>
                  <a:pt x="4475172" y="6731094"/>
                  <a:pt x="4491691" y="6736558"/>
                  <a:pt x="4509939" y="6736558"/>
                </a:cubicBezTo>
                <a:cubicBezTo>
                  <a:pt x="4546434" y="6736558"/>
                  <a:pt x="4576019" y="6714702"/>
                  <a:pt x="4576019" y="6687742"/>
                </a:cubicBezTo>
                <a:lnTo>
                  <a:pt x="4572209" y="6673799"/>
                </a:lnTo>
                <a:lnTo>
                  <a:pt x="4623098" y="6648535"/>
                </a:lnTo>
                <a:cubicBezTo>
                  <a:pt x="4668544" y="6620982"/>
                  <a:pt x="4695081" y="6587765"/>
                  <a:pt x="4695081" y="6552010"/>
                </a:cubicBezTo>
                <a:cubicBezTo>
                  <a:pt x="4695081" y="6456663"/>
                  <a:pt x="4506377" y="6379369"/>
                  <a:pt x="4273599" y="6379369"/>
                </a:cubicBezTo>
                <a:close/>
                <a:moveTo>
                  <a:pt x="819551" y="0"/>
                </a:moveTo>
                <a:lnTo>
                  <a:pt x="5021312" y="0"/>
                </a:lnTo>
                <a:lnTo>
                  <a:pt x="5021312" y="6858000"/>
                </a:lnTo>
                <a:lnTo>
                  <a:pt x="819512" y="6858000"/>
                </a:lnTo>
                <a:lnTo>
                  <a:pt x="792683" y="6806944"/>
                </a:lnTo>
                <a:cubicBezTo>
                  <a:pt x="282256" y="5768699"/>
                  <a:pt x="0" y="4627208"/>
                  <a:pt x="0" y="3429000"/>
                </a:cubicBezTo>
                <a:cubicBezTo>
                  <a:pt x="0" y="2230792"/>
                  <a:pt x="282256" y="1089300"/>
                  <a:pt x="792683" y="51056"/>
                </a:cubicBezTo>
                <a:lnTo>
                  <a:pt x="804640" y="28302"/>
                </a:lnTo>
                <a:lnTo>
                  <a:pt x="805177" y="28572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marL="1587" marR="0" indent="0" algn="ctr" defTabSz="27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i="1"/>
            </a:lvl1pPr>
          </a:lstStyle>
          <a:p>
            <a:pPr marL="1587" marR="0" lvl="0" indent="0" algn="ctr" defTabSz="27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br>
              <a:rPr lang="de-DE" dirty="0"/>
            </a:br>
            <a:br>
              <a:rPr lang="de-DE" dirty="0"/>
            </a:br>
            <a:r>
              <a:rPr lang="cs-CZ" dirty="0"/>
              <a:t>Místo pro obrázek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8" y="404812"/>
            <a:ext cx="6363517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3999" y="1449388"/>
            <a:ext cx="6364487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 dirty="0"/>
              <a:t>První úroveň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  <a:p>
            <a:pPr lvl="5"/>
            <a:r>
              <a:rPr lang="cs-CZ" dirty="0"/>
              <a:t>Šestá úroveň</a:t>
            </a:r>
          </a:p>
          <a:p>
            <a:pPr lvl="6"/>
            <a:r>
              <a:rPr lang="cs-CZ" dirty="0"/>
              <a:t>Sedmá úroveň</a:t>
            </a:r>
          </a:p>
          <a:p>
            <a:pPr lvl="7"/>
            <a:r>
              <a:rPr lang="cs-CZ" dirty="0"/>
              <a:t>Osmá úroveň</a:t>
            </a:r>
          </a:p>
          <a:p>
            <a:pPr lvl="8"/>
            <a:r>
              <a:rPr lang="cs-CZ" dirty="0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0771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8E4913-B03A-4AB6-B7F2-A0872B34D1C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0CBED1-7E45-4D54-80F8-5FC6D98DAF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840CB-0CFF-4728-A26F-94ABA447D9D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8163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29B19-0EED-4E9D-BB18-BF6ABA02D9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478951-E3F4-4E8C-8B0E-C16D18C85B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02492C-6BB2-4E6D-ACAA-16FDF397D8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2341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+ b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 i="1"/>
            </a:lvl1pPr>
          </a:lstStyle>
          <a:p>
            <a:r>
              <a:rPr lang="en-US" dirty="0" err="1"/>
              <a:t>Místo</a:t>
            </a:r>
            <a:r>
              <a:rPr lang="en-US" dirty="0"/>
              <a:t> pro (jasný) </a:t>
            </a:r>
            <a:r>
              <a:rPr lang="en-US" dirty="0" err="1"/>
              <a:t>obrázek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em zadejte nadpis</a:t>
            </a:r>
            <a:r>
              <a:rPr lang="fr-FR" dirty="0"/>
              <a:t>, </a:t>
            </a:r>
            <a:br>
              <a:rPr lang="fr-FR" dirty="0"/>
            </a:br>
            <a:r>
              <a:rPr lang="cs-CZ" noProof="0" dirty="0"/>
              <a:t>barva textu musí být </a:t>
            </a:r>
            <a:r>
              <a:rPr lang="en-GB" dirty="0"/>
              <a:t>bright blu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4149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A6403D-C05D-4F04-ABF8-A5888288A5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4BF264-094B-4198-B74D-A4686A1DA0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1BF471-939C-465A-B65C-9E97D21DE3C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241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F34033-76D1-4E51-830F-DFE41BDA98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D65D2F-FC85-42B4-AC69-F3001FE765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7B9F14-7F77-4747-A2A8-E6DB140558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cs-CZ" b="1">
                <a:latin typeface="Calibri" panose="020F0502020204030204" pitchFamily="34" charset="0"/>
                <a:cs typeface="Calibri" panose="020F0502020204030204" pitchFamily="34" charset="0"/>
              </a:rPr>
              <a:t>PODNADPIS – 18 B.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  <a:p>
            <a:pPr lvl="5"/>
            <a:r>
              <a:rPr lang="cs-CZ"/>
              <a:t>Šestá úroveň</a:t>
            </a:r>
          </a:p>
          <a:p>
            <a:pPr lvl="6"/>
            <a:r>
              <a:rPr lang="cs-CZ"/>
              <a:t>Sedmá úroveň</a:t>
            </a:r>
          </a:p>
          <a:p>
            <a:pPr lvl="7"/>
            <a:r>
              <a:rPr lang="cs-CZ"/>
              <a:t>Osmá úroveň</a:t>
            </a:r>
          </a:p>
          <a:p>
            <a:pPr lvl="8"/>
            <a:r>
              <a:rPr lang="cs-CZ"/>
              <a:t>Devátá úroveň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45632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E8222D0-3E81-9A4B-A163-C31718782A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375" y="928751"/>
            <a:ext cx="2119447" cy="1223906"/>
          </a:xfrm>
          <a:prstGeom prst="rect">
            <a:avLst/>
          </a:prstGeom>
        </p:spPr>
      </p:pic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cs-CZ" sz="3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ěkuji vám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Případný podnadpis</a:t>
            </a:r>
          </a:p>
        </p:txBody>
      </p:sp>
    </p:spTree>
    <p:extLst>
      <p:ext uri="{BB962C8B-B14F-4D97-AF65-F5344CB8AC3E}">
        <p14:creationId xmlns:p14="http://schemas.microsoft.com/office/powerpoint/2010/main" val="3884969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51099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Pictur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43539A6-BBFE-431D-81DD-4044BFDF9D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BFE281A0-2895-4D12-9881-85B54A4CE4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7886" y="1449388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4A1205B6-FFF7-4E2A-B7ED-8E1C80A65C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4969" y="1449389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2CD6E8F8-DA1C-413B-AEEB-ED7733004B6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14969" y="3127717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99E93A5F-6F5A-476A-AD37-2A791435A00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14969" y="4806044"/>
            <a:ext cx="1990774" cy="1440000"/>
          </a:xfrm>
          <a:prstGeom prst="roundRect">
            <a:avLst>
              <a:gd name="adj" fmla="val 12747"/>
            </a:avLst>
          </a:prstGeom>
          <a:solidFill>
            <a:schemeClr val="bg2"/>
          </a:solidFill>
        </p:spPr>
        <p:txBody>
          <a:bodyPr anchor="ctr"/>
          <a:lstStyle>
            <a:lvl1pPr marL="1587" indent="0" algn="ctr">
              <a:buNone/>
              <a:defRPr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lace </a:t>
            </a:r>
            <a:r>
              <a:rPr lang="de-DE" dirty="0" err="1"/>
              <a:t>for</a:t>
            </a:r>
            <a:r>
              <a:rPr lang="de-DE" dirty="0"/>
              <a:t> Picture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0E829DD-6064-4881-95E9-841FD5699D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77886" y="3127716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DADF9C1A-4DAD-46AE-A3EB-CA1E33D140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7886" y="4806044"/>
            <a:ext cx="9099146" cy="1440000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08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350000" indent="-270000"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D65134B-1F33-4D42-B13B-75F76907EA3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FE4C89-2071-F645-9C14-48E0AE3ACA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77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3">
            <a:extLst>
              <a:ext uri="{FF2B5EF4-FFF2-40B4-BE49-F238E27FC236}">
                <a16:creationId xmlns:a16="http://schemas.microsoft.com/office/drawing/2014/main" id="{2CC6F5A4-DCEE-4E65-AE88-F4F963C453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38687" y="18208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3" name="Bildplatzhalter 3">
            <a:extLst>
              <a:ext uri="{FF2B5EF4-FFF2-40B4-BE49-F238E27FC236}">
                <a16:creationId xmlns:a16="http://schemas.microsoft.com/office/drawing/2014/main" id="{1E72FD6A-7A41-43A7-B007-7475518CDA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10487" y="18335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4" name="Bildplatzhalter 3">
            <a:extLst>
              <a:ext uri="{FF2B5EF4-FFF2-40B4-BE49-F238E27FC236}">
                <a16:creationId xmlns:a16="http://schemas.microsoft.com/office/drawing/2014/main" id="{303B352A-A067-4130-A931-A3AA41AE46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894987" y="18208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35" name="Bildplatzhalter 3">
            <a:extLst>
              <a:ext uri="{FF2B5EF4-FFF2-40B4-BE49-F238E27FC236}">
                <a16:creationId xmlns:a16="http://schemas.microsoft.com/office/drawing/2014/main" id="{4E0DAE8D-6C62-4559-BBAC-88CEBDAEEF1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66787" y="1833521"/>
            <a:ext cx="1404000" cy="1404000"/>
          </a:xfrm>
          <a:prstGeom prst="ellipse">
            <a:avLst/>
          </a:prstGeom>
          <a:solidFill>
            <a:schemeClr val="bg2"/>
          </a:solidFill>
        </p:spPr>
        <p:txBody>
          <a:bodyPr anchor="t" anchorCtr="0">
            <a:normAutofit/>
          </a:bodyPr>
          <a:lstStyle>
            <a:lvl1pPr marL="1587" indent="0" algn="ctr">
              <a:buNone/>
              <a:defRPr sz="1400" i="1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E93948-237C-4EC2-88A9-2C273F738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D35748-8F6A-4DB3-96D4-69C52E4C94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‹#›</a:t>
            </a:fld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B10DE00-4C1D-412C-AD4F-D4C34416B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96088" y="2382603"/>
            <a:ext cx="143933" cy="28029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22CA706-78D2-452F-97B7-FC09FFBFE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24034" y="2382603"/>
            <a:ext cx="143933" cy="28029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CECD728-AEEB-442B-A8F6-36ADAEA2F3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1979" y="2382603"/>
            <a:ext cx="143933" cy="280290"/>
          </a:xfrm>
          <a:prstGeom prst="rect">
            <a:avLst/>
          </a:prstGeom>
        </p:spPr>
      </p:pic>
      <p:sp>
        <p:nvSpPr>
          <p:cNvPr id="47" name="Textplatzhalter 7">
            <a:extLst>
              <a:ext uri="{FF2B5EF4-FFF2-40B4-BE49-F238E27FC236}">
                <a16:creationId xmlns:a16="http://schemas.microsoft.com/office/drawing/2014/main" id="{25572996-EFC8-409E-A017-96C3B73129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1391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662433B3-0B2D-4BBA-B8CB-1CB0A9D406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40077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4B97B86A-D36C-4928-9D72-747DC25C583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5509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53" name="Textplatzhalter 7">
            <a:extLst>
              <a:ext uri="{FF2B5EF4-FFF2-40B4-BE49-F238E27FC236}">
                <a16:creationId xmlns:a16="http://schemas.microsoft.com/office/drawing/2014/main" id="{C8DA4797-72F4-48B8-8198-8CF8DCF450C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90937" y="3817777"/>
            <a:ext cx="2049321" cy="1107996"/>
          </a:xfrm>
        </p:spPr>
        <p:txBody>
          <a:bodyPr>
            <a:spAutoFit/>
          </a:bodyPr>
          <a:lstStyle>
            <a:lvl1pPr marL="285750" indent="-285750">
              <a:buFont typeface="Arial" panose="020B0604020202020204" pitchFamily="34" charset="0"/>
              <a:buChar char="•"/>
              <a:defRPr b="0">
                <a:latin typeface="Calibri" panose="020F0502020204030204" pitchFamily="34" charset="0"/>
              </a:defRPr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algn="l">
              <a:buClr>
                <a:srgbClr val="0045FF"/>
              </a:buClr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3946168D-3702-416D-9D80-5ADD832946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123946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8C626F23-2B36-4A62-BFE4-133F30F8E78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88801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E9782D31-036B-4179-840C-AAD36B781D9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60856" y="3227815"/>
            <a:ext cx="7200" cy="2520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1587" indent="0">
              <a:buNone/>
              <a:defRPr>
                <a:latin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57DAE59-25ED-4845-8143-7C8F01A243C7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C836E2-F1AB-F340-97ED-39D6CD6A2C05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AEA4642F-DCDB-A94D-9A0D-4FDA160D05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9610" y="2261185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1</a:t>
            </a:r>
            <a:endParaRPr lang="en-US" dirty="0"/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14D7B82D-93D9-4D45-BD45-61EAB838A73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37760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2</a:t>
            </a:r>
            <a:endParaRPr lang="en-US" dirty="0"/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C4C0396C-9E17-3B4D-A46E-08712DF8833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331972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3</a:t>
            </a:r>
            <a:endParaRPr lang="en-US" dirty="0"/>
          </a:p>
        </p:txBody>
      </p:sp>
      <p:sp>
        <p:nvSpPr>
          <p:cNvPr id="37" name="Textplatzhalter 12">
            <a:extLst>
              <a:ext uri="{FF2B5EF4-FFF2-40B4-BE49-F238E27FC236}">
                <a16:creationId xmlns:a16="http://schemas.microsoft.com/office/drawing/2014/main" id="{1A079DBE-5495-0646-8EFF-38913F3EE8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290325" y="2261186"/>
            <a:ext cx="549455" cy="548671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587" indent="0" algn="ctr">
              <a:buNone/>
              <a:defRPr sz="2800" b="1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4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F6222F3-FC90-D449-BB07-A9E57D250BE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11391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26D620C7-1BB2-9840-A6B2-DDFB1A0954D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236662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0003E1D2-CD89-1440-9ADA-72A294E3B7B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03980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7E9FC8CA-0097-2C40-AC0D-CFB855FB718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71298" y="3448430"/>
            <a:ext cx="2049321" cy="341313"/>
          </a:xfrm>
        </p:spPr>
        <p:txBody>
          <a:bodyPr/>
          <a:lstStyle>
            <a:lvl1pPr marL="1587" indent="0">
              <a:buNone/>
              <a:defRPr b="1"/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426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Überschrift einfügen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6" name="Seitenzahl">
            <a:extLst>
              <a:ext uri="{FF2B5EF4-FFF2-40B4-BE49-F238E27FC236}">
                <a16:creationId xmlns:a16="http://schemas.microsoft.com/office/drawing/2014/main" id="{C5E0CAE3-D432-498C-979C-FB618FC5DD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69886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4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EADCFD0B-9896-44FC-9615-FBE9CB74D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3256" y="6458429"/>
            <a:ext cx="37287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72949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D8736BE-8233-8D40-9551-2C322FF44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Here goes the title </a:t>
            </a:r>
            <a:br>
              <a:rPr lang="en-GB"/>
            </a:br>
            <a:r>
              <a:rPr lang="en-GB"/>
              <a:t>of the current presentation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39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F9AE946C-E68B-D743-B1EE-570FDD0097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732"/>
          <a:stretch/>
        </p:blipFill>
        <p:spPr>
          <a:xfrm>
            <a:off x="0" y="0"/>
            <a:ext cx="1100545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re goes the title </a:t>
            </a:r>
            <a:br>
              <a:rPr lang="en-GB"/>
            </a:br>
            <a:r>
              <a:rPr lang="en-GB"/>
              <a:t>of the current presentation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3C0D58-735A-412A-8B93-C78F2E77AD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0870" y="993844"/>
            <a:ext cx="4146439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Use this cover design only if the presentation is not intended to be printed out</a:t>
            </a:r>
            <a:endParaRPr lang="de-DE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B7B62E1-5216-204B-88A7-3D3EFA34C7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6746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i</a:t>
            </a:r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AD37D2E-4A0F-144B-9D47-7A82AD311517}"/>
              </a:ext>
            </a:extLst>
          </p:cNvPr>
          <p:cNvSpPr txBox="1"/>
          <p:nvPr userDrawn="1"/>
        </p:nvSpPr>
        <p:spPr>
          <a:xfrm>
            <a:off x="10925666" y="-301658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0" indent="0" algn="l">
              <a:buClr>
                <a:schemeClr val="tx2"/>
              </a:buClr>
              <a:buFont typeface="Arial" panose="020B0604020202020204" pitchFamily="34" charset="0"/>
              <a:buNone/>
            </a:pPr>
            <a:endParaRPr lang="en-US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6D32B15-48A7-FD4E-81E8-ED8BDCE068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180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/>
              <a:t>Title of the chapter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69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+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E778437-48EB-1635-99B0-0BEC450C33E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12192000" cy="6858001"/>
          </a:xfrm>
          <a:custGeom>
            <a:avLst/>
            <a:gdLst>
              <a:gd name="connsiteX0" fmla="*/ 1292940 w 12192000"/>
              <a:gd name="connsiteY0" fmla="*/ 5165903 h 6858001"/>
              <a:gd name="connsiteX1" fmla="*/ 1269647 w 12192000"/>
              <a:gd name="connsiteY1" fmla="*/ 5175551 h 6858001"/>
              <a:gd name="connsiteX2" fmla="*/ 1259999 w 12192000"/>
              <a:gd name="connsiteY2" fmla="*/ 5198844 h 6858001"/>
              <a:gd name="connsiteX3" fmla="*/ 1259999 w 12192000"/>
              <a:gd name="connsiteY3" fmla="*/ 5198843 h 6858001"/>
              <a:gd name="connsiteX4" fmla="*/ 1259999 w 12192000"/>
              <a:gd name="connsiteY4" fmla="*/ 5198844 h 6858001"/>
              <a:gd name="connsiteX5" fmla="*/ 1259999 w 12192000"/>
              <a:gd name="connsiteY5" fmla="*/ 5198844 h 6858001"/>
              <a:gd name="connsiteX6" fmla="*/ 1269647 w 12192000"/>
              <a:gd name="connsiteY6" fmla="*/ 5222136 h 6858001"/>
              <a:gd name="connsiteX7" fmla="*/ 1292940 w 12192000"/>
              <a:gd name="connsiteY7" fmla="*/ 5231784 h 6858001"/>
              <a:gd name="connsiteX8" fmla="*/ 1964927 w 12192000"/>
              <a:gd name="connsiteY8" fmla="*/ 5231785 h 6858001"/>
              <a:gd name="connsiteX9" fmla="*/ 1997868 w 12192000"/>
              <a:gd name="connsiteY9" fmla="*/ 5198844 h 6858001"/>
              <a:gd name="connsiteX10" fmla="*/ 1997869 w 12192000"/>
              <a:gd name="connsiteY10" fmla="*/ 5198844 h 6858001"/>
              <a:gd name="connsiteX11" fmla="*/ 1964928 w 12192000"/>
              <a:gd name="connsiteY11" fmla="*/ 5165903 h 6858001"/>
              <a:gd name="connsiteX12" fmla="*/ 7266734 w 12192000"/>
              <a:gd name="connsiteY12" fmla="*/ 0 h 6858001"/>
              <a:gd name="connsiteX13" fmla="*/ 12192000 w 12192000"/>
              <a:gd name="connsiteY13" fmla="*/ 0 h 6858001"/>
              <a:gd name="connsiteX14" fmla="*/ 12192000 w 12192000"/>
              <a:gd name="connsiteY14" fmla="*/ 6858001 h 6858001"/>
              <a:gd name="connsiteX15" fmla="*/ 0 w 12192000"/>
              <a:gd name="connsiteY15" fmla="*/ 6858001 h 6858001"/>
              <a:gd name="connsiteX16" fmla="*/ 0 w 12192000"/>
              <a:gd name="connsiteY16" fmla="*/ 1657411 h 6858001"/>
              <a:gd name="connsiteX17" fmla="*/ 440960 w 12192000"/>
              <a:gd name="connsiteY17" fmla="*/ 1840088 h 6858001"/>
              <a:gd name="connsiteX18" fmla="*/ 2437175 w 12192000"/>
              <a:gd name="connsiteY18" fmla="*/ 2184654 h 6858001"/>
              <a:gd name="connsiteX19" fmla="*/ 6871176 w 12192000"/>
              <a:gd name="connsiteY19" fmla="*/ 372669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2000" h="6858001">
                <a:moveTo>
                  <a:pt x="1292940" y="5165903"/>
                </a:moveTo>
                <a:cubicBezTo>
                  <a:pt x="1283844" y="5165903"/>
                  <a:pt x="1275608" y="5169590"/>
                  <a:pt x="1269647" y="5175551"/>
                </a:cubicBezTo>
                <a:lnTo>
                  <a:pt x="1259999" y="5198844"/>
                </a:lnTo>
                <a:lnTo>
                  <a:pt x="1259999" y="5198843"/>
                </a:lnTo>
                <a:lnTo>
                  <a:pt x="1259999" y="5198844"/>
                </a:lnTo>
                <a:lnTo>
                  <a:pt x="1259999" y="5198844"/>
                </a:lnTo>
                <a:lnTo>
                  <a:pt x="1269647" y="5222136"/>
                </a:lnTo>
                <a:cubicBezTo>
                  <a:pt x="1275608" y="5228097"/>
                  <a:pt x="1283844" y="5231784"/>
                  <a:pt x="1292940" y="5231784"/>
                </a:cubicBezTo>
                <a:lnTo>
                  <a:pt x="1964927" y="5231785"/>
                </a:lnTo>
                <a:cubicBezTo>
                  <a:pt x="1983120" y="5231785"/>
                  <a:pt x="1997868" y="5217037"/>
                  <a:pt x="1997868" y="5198844"/>
                </a:cubicBezTo>
                <a:lnTo>
                  <a:pt x="1997869" y="5198844"/>
                </a:lnTo>
                <a:cubicBezTo>
                  <a:pt x="1997869" y="5180651"/>
                  <a:pt x="1983121" y="5165903"/>
                  <a:pt x="1964928" y="5165903"/>
                </a:cubicBezTo>
                <a:close/>
                <a:moveTo>
                  <a:pt x="7266734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0" y="6858001"/>
                </a:lnTo>
                <a:lnTo>
                  <a:pt x="0" y="1657411"/>
                </a:lnTo>
                <a:lnTo>
                  <a:pt x="440960" y="1840088"/>
                </a:lnTo>
                <a:cubicBezTo>
                  <a:pt x="1083254" y="2066860"/>
                  <a:pt x="1749311" y="2184654"/>
                  <a:pt x="2437175" y="2184654"/>
                </a:cubicBezTo>
                <a:cubicBezTo>
                  <a:pt x="4042192" y="2184654"/>
                  <a:pt x="5528478" y="1543333"/>
                  <a:pt x="6871176" y="37266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bIns="828000" anchor="ctr" anchorCtr="1">
            <a:noAutofit/>
          </a:bodyPr>
          <a:lstStyle>
            <a:lvl1pPr marL="1587" indent="0">
              <a:buNone/>
              <a:defRPr i="1"/>
            </a:lvl1pPr>
          </a:lstStyle>
          <a:p>
            <a:r>
              <a:rPr lang="en-US" dirty="0" err="1"/>
              <a:t>Místo</a:t>
            </a:r>
            <a:r>
              <a:rPr lang="en-US" dirty="0"/>
              <a:t> pro (</a:t>
            </a:r>
            <a:r>
              <a:rPr lang="en-US" dirty="0" err="1"/>
              <a:t>tmavý</a:t>
            </a:r>
            <a:r>
              <a:rPr lang="en-US" dirty="0"/>
              <a:t>) </a:t>
            </a:r>
            <a:r>
              <a:rPr lang="en-US" dirty="0" err="1"/>
              <a:t>obrázek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AD3CAF-ADC2-3F4A-2EA6-88B7D7CF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688" b="66936"/>
          <a:stretch/>
        </p:blipFill>
        <p:spPr>
          <a:xfrm>
            <a:off x="0" y="0"/>
            <a:ext cx="7353300" cy="2267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3596640"/>
            <a:ext cx="7236000" cy="1270559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em zadejte nadpis</a:t>
            </a:r>
            <a:r>
              <a:rPr lang="fr-FR" dirty="0"/>
              <a:t>, </a:t>
            </a:r>
            <a:br>
              <a:rPr lang="fr-FR" dirty="0"/>
            </a:br>
            <a:r>
              <a:rPr lang="cs-CZ" noProof="0" dirty="0"/>
              <a:t>barva textu musí být bílá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cs-CZ" dirty="0"/>
              <a:t>Jméno a příjmení / tučně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Událost / datum – Calibri 16 b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437F8FC-A37C-8841-BB56-1D4FD904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  <p:cxnSp>
        <p:nvCxnSpPr>
          <p:cNvPr id="22" name="Straight Connector 3">
            <a:extLst>
              <a:ext uri="{FF2B5EF4-FFF2-40B4-BE49-F238E27FC236}">
                <a16:creationId xmlns:a16="http://schemas.microsoft.com/office/drawing/2014/main" id="{3C62D38B-28BD-4DE7-EF07-F766CB963858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2792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Pr>
        <a:solidFill>
          <a:srgbClr val="004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ACF61BE-5787-1F46-B797-54D1CB3D45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the chapter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32BB8FC-B5BA-2341-88FE-E44A791A8B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3E206001-EE5F-A140-BF41-065ED5F01577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Logo">
            <a:extLst>
              <a:ext uri="{FF2B5EF4-FFF2-40B4-BE49-F238E27FC236}">
                <a16:creationId xmlns:a16="http://schemas.microsoft.com/office/drawing/2014/main" id="{F9765B87-A26F-4B15-807E-D10FF83305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  <p:sp>
        <p:nvSpPr>
          <p:cNvPr id="8" name="Textplatzhalter 9">
            <a:extLst>
              <a:ext uri="{FF2B5EF4-FFF2-40B4-BE49-F238E27FC236}">
                <a16:creationId xmlns:a16="http://schemas.microsoft.com/office/drawing/2014/main" id="{2DD868F7-A34D-C048-AFC0-1C8BA5DD48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60994" y="993844"/>
            <a:ext cx="4286841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Use this chapter title design only if the presentation is not intended to be printed out</a:t>
            </a:r>
            <a:endParaRPr lang="de-DE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67465649-AC4E-FE47-9F2F-070B574538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6870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57104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8BE3D8-5B03-4706-AAE0-6D74D759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2BBB6A-6321-4B7D-AD05-62464EE8E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DC783F-6616-43FB-B58D-A23CC0B67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343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8BE3D8-5B03-4706-AAE0-6D74D759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2BBB6A-6321-4B7D-AD05-62464EE8E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DC783F-6616-43FB-B58D-A23CC0B67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0256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063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2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4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5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2836199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E1F4BE-99C4-4AF5-87C8-E59DC89A13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2EBC74-C4E5-4080-A813-B55831C4A9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58FD50-5D8D-4ADC-B424-70C6506359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757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AABC5D-E9F1-4C72-9C21-B46E9546B99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3EC293-36DC-46B7-A520-1E2555F6BD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8273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20AF98-9AF3-4526-B110-01A377C3C97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6A170C-6AF9-4374-9CFF-3579F1D3225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64A675-DFFD-46D8-9FD8-67343485DA0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676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1E0D63-99ED-4C38-9A7B-5F987DD3B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BCD8D5-DDE7-4CFD-8230-68C4D986C2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74FA8D-9C59-4C59-B941-BE1A97BEEA2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3000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3987-AF78-49CB-83A9-384E14C88F9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578DB8-B4B8-4C9D-B23E-5ACD4B5FD7A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3E777C-8994-40FF-B1F0-E50C70469E7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734254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Název kapitoly
Calibri Bold – 36 b.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řípadný podnadpis
Calibri Regular – 20 b.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828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9B92987-6FF8-4C6B-9A24-EBA347C0A10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FCD923-F05F-4EAB-8FA8-3AA9674B90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34989B-5E7B-4BE0-B41F-9D79E831735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734081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for chart / graphic / tab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dd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38A43D6-D33A-4F4E-983E-4B49AD66F23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B8BC93-1A26-4F31-A77F-942E280C666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5CBCDEC-DC2A-464B-A415-BE611CBB08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268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Place for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C9A5BB-6082-4942-8634-8BF50C5F9D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48B76-62D9-4E40-9A37-29BD6EB042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E1094-726C-4682-B726-7B5C55A536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1530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8E4913-B03A-4AB6-B7F2-A0872B34D1C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0CBED1-7E45-4D54-80F8-5FC6D98DAFD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D840CB-0CFF-4728-A26F-94ABA447D9D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7714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29B19-0EED-4E9D-BB18-BF6ABA02D9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478951-E3F4-4E8C-8B0E-C16D18C85B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02492C-6BB2-4E6D-ACAA-16FDF397D8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5896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9A6403D-C05D-4F04-ABF8-A5888288A5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4BF264-094B-4198-B74D-A4686A1DA0A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1BF471-939C-465A-B65C-9E97D21DE3C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2539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7F34033-76D1-4E51-830F-DFE41BDA98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D65D2F-FC85-42B4-AC69-F3001FE7650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7B9F14-7F77-4747-A2A8-E6DB140558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3435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562" y="863601"/>
            <a:ext cx="2198981" cy="131257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32674363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ue">
    <p:bg>
      <p:bgPr>
        <a:solidFill>
          <a:srgbClr val="004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562" y="863601"/>
            <a:ext cx="2198981" cy="1312570"/>
          </a:xfrm>
          <a:prstGeom prst="rect">
            <a:avLst/>
          </a:prstGeom>
        </p:spPr>
      </p:pic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5BCE5115-CC07-3C4F-8ED9-DDE49C814B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60994" y="993844"/>
            <a:ext cx="3758459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Use this design only if the presentation is not intended to be printed out</a:t>
            </a:r>
            <a:endParaRPr lang="de-DE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6E688F92-EC9F-2B47-9A05-89310310B0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6870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/>
              <a:t>i</a:t>
            </a:r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7655044-659B-4746-95D9-16BEB3270D33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0DAC319-6721-4323-BFB4-C53FD8909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10464611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B7E56394-0C12-4945-A71F-4EC2AEA6B6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re goes the title </a:t>
            </a:r>
            <a:br>
              <a:rPr lang="en-GB"/>
            </a:br>
            <a:r>
              <a:rPr lang="en-GB"/>
              <a:t>of the current presentation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243448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4876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8BE3D8-5B03-4706-AAE0-6D74D759B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2BBB6A-6321-4B7D-AD05-62464EE8E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DC783F-6616-43FB-B58D-A23CC0B67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479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726" y="1528763"/>
            <a:ext cx="11256962" cy="47879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Place for text or chart / graphic / tab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D392D4-FFC4-465F-BC9B-492FD4594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42685"/>
            <a:ext cx="11256962" cy="886397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907319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r>
              <a:rPr lang="en-US"/>
              <a:t>M:IP - Mission: Infection Prevention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60464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D1031FE2-1737-441E-815C-C129F52EA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9367A10-4B25-4367-BAEE-9191ED4D0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1" y="900000"/>
            <a:ext cx="7235999" cy="8863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chapter</a:t>
            </a:r>
            <a:br>
              <a:rPr lang="en-US"/>
            </a:br>
            <a:r>
              <a:rPr lang="en-US"/>
              <a:t>Calibri Bold – 27pt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79C7C6F-CB0B-40D6-B829-3D9CBCD5649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60000" y="2196000"/>
            <a:ext cx="5724000" cy="8135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Subtitle if applicable</a:t>
            </a:r>
          </a:p>
        </p:txBody>
      </p:sp>
      <p:cxnSp>
        <p:nvCxnSpPr>
          <p:cNvPr id="6" name="Straight Connector 3">
            <a:extLst>
              <a:ext uri="{FF2B5EF4-FFF2-40B4-BE49-F238E27FC236}">
                <a16:creationId xmlns:a16="http://schemas.microsoft.com/office/drawing/2014/main" id="{D618506A-01ED-40C1-AB06-5F368F91C0DE}"/>
              </a:ext>
            </a:extLst>
          </p:cNvPr>
          <p:cNvCxnSpPr>
            <a:cxnSpLocks/>
          </p:cNvCxnSpPr>
          <p:nvPr userDrawn="1"/>
        </p:nvCxnSpPr>
        <p:spPr>
          <a:xfrm>
            <a:off x="1260000" y="1984460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0049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AABC5D-E9F1-4C72-9C21-B46E9546B99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53EC293-36DC-46B7-A520-1E2555F6BD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r>
              <a:rPr lang="en-US"/>
              <a:t>M:IP - Mission: Infection Preventio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39F5BFF-0955-421D-AFBA-C27476BAD02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5904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4555F62-D239-4511-976B-8C376BBCEE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51E8DEF-E5E7-4768-9A82-F240ED18945D}"/>
              </a:ext>
            </a:extLst>
          </p:cNvPr>
          <p:cNvSpPr txBox="1"/>
          <p:nvPr userDrawn="1"/>
        </p:nvSpPr>
        <p:spPr>
          <a:xfrm>
            <a:off x="1260000" y="900000"/>
            <a:ext cx="7236000" cy="84567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algn="l" defTabSz="685783">
              <a:spcBef>
                <a:spcPts val="1400"/>
              </a:spcBef>
              <a:spcAft>
                <a:spcPts val="1200"/>
              </a:spcAft>
            </a:pPr>
            <a:r>
              <a:rPr lang="en-GB" sz="2700" b="1" kern="12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rPr>
              <a:t>Thank you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85F84E-A10A-4776-AFF4-56A8291B4523}"/>
              </a:ext>
            </a:extLst>
          </p:cNvPr>
          <p:cNvSpPr txBox="1"/>
          <p:nvPr userDrawn="1"/>
        </p:nvSpPr>
        <p:spPr>
          <a:xfrm>
            <a:off x="1260000" y="2196000"/>
            <a:ext cx="5724000" cy="8456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0" indent="0" algn="l" defTabSz="685783" rtl="0" eaLnBrk="1" latinLnBrk="0" hangingPunct="1">
              <a:lnSpc>
                <a:spcPct val="100000"/>
              </a:lnSpc>
              <a:spcBef>
                <a:spcPts val="1400"/>
              </a:spcBef>
              <a:spcAft>
                <a:spcPts val="900"/>
              </a:spcAft>
              <a:buFont typeface="Arial" panose="020B0604020202020204" pitchFamily="34" charset="0"/>
              <a:buNone/>
            </a:pPr>
            <a:endParaRPr lang="en-GB" sz="2000" b="0" kern="120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5FBB153-92C3-4CEC-A6D6-AE53C02689F3}"/>
              </a:ext>
            </a:extLst>
          </p:cNvPr>
          <p:cNvCxnSpPr>
            <a:cxnSpLocks/>
          </p:cNvCxnSpPr>
          <p:nvPr userDrawn="1"/>
        </p:nvCxnSpPr>
        <p:spPr>
          <a:xfrm>
            <a:off x="1260000" y="1984460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8304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84900" y="1528763"/>
            <a:ext cx="5538788" cy="4787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for text or chart / graphic / tab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CD1422B-7DCD-4666-BDBF-4C45664A2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de-DE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A08DE9-95C3-4466-9483-642686111CB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4976" y="1520826"/>
            <a:ext cx="5530538" cy="47958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Place for text or chart / graphic / table</a:t>
            </a:r>
          </a:p>
        </p:txBody>
      </p:sp>
    </p:spTree>
    <p:extLst>
      <p:ext uri="{BB962C8B-B14F-4D97-AF65-F5344CB8AC3E}">
        <p14:creationId xmlns:p14="http://schemas.microsoft.com/office/powerpoint/2010/main" val="411317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015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E1F4BE-99C4-4AF5-87C8-E59DC89A13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2EBC74-C4E5-4080-A813-B55831C4A9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58FD50-5D8D-4ADC-B424-70C6506359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/>
              <a:t>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5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6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/>
              <a:t>Eight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endParaRPr lang="de-DE"/>
          </a:p>
          <a:p>
            <a:pPr lvl="3"/>
            <a:endParaRPr lang="de-DE"/>
          </a:p>
          <a:p>
            <a:pPr lvl="4"/>
            <a:endParaRPr lang="de-DE"/>
          </a:p>
          <a:p>
            <a:pPr lvl="5"/>
            <a:endParaRPr lang="de-DE"/>
          </a:p>
          <a:p>
            <a:pPr lvl="6"/>
            <a:endParaRPr lang="de-DE"/>
          </a:p>
          <a:p>
            <a:pPr lvl="7"/>
            <a:endParaRPr lang="de-DE"/>
          </a:p>
          <a:p>
            <a:pPr lvl="8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81278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8029B19-0EED-4E9D-BB18-BF6ABA02D98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478951-E3F4-4E8C-8B0E-C16D18C85B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defTabSz="914400"/>
            <a:r>
              <a:rPr lang="de-DE"/>
              <a:t>M:IP - Mission: Infection Preven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02492C-6BB2-4E6D-ACAA-16FDF397D8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50711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F9AE946C-E68B-D743-B1EE-570FDD0097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732"/>
          <a:stretch/>
        </p:blipFill>
        <p:spPr>
          <a:xfrm>
            <a:off x="0" y="0"/>
            <a:ext cx="1100545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re goes the title </a:t>
            </a:r>
            <a:br>
              <a:rPr lang="en-GB"/>
            </a:br>
            <a:r>
              <a:rPr lang="en-GB"/>
              <a:t>of the current presentation</a:t>
            </a:r>
            <a:br>
              <a:rPr lang="en-GB"/>
            </a:br>
            <a:r>
              <a:rPr lang="en-GB"/>
              <a:t>Calibri Bold – 36pt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if applicable</a:t>
            </a:r>
            <a:br>
              <a:rPr lang="en-GB"/>
            </a:br>
            <a:r>
              <a:rPr lang="en-GB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DAD37D2E-4A0F-144B-9D47-7A82AD311517}"/>
              </a:ext>
            </a:extLst>
          </p:cNvPr>
          <p:cNvSpPr txBox="1"/>
          <p:nvPr userDrawn="1"/>
        </p:nvSpPr>
        <p:spPr>
          <a:xfrm>
            <a:off x="10925666" y="-301658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0" indent="0" algn="l">
              <a:buClr>
                <a:schemeClr val="tx2"/>
              </a:buClr>
              <a:buFont typeface="Arial" panose="020B0604020202020204" pitchFamily="34" charset="0"/>
              <a:buNone/>
            </a:pPr>
            <a:endParaRPr lang="en-US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6D32B15-48A7-FD4E-81E8-ED8BDCE068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9187" t="91133" r="390" b="589"/>
          <a:stretch/>
        </p:blipFill>
        <p:spPr>
          <a:xfrm>
            <a:off x="792163" y="683948"/>
            <a:ext cx="3216029" cy="143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29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9740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23675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7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cs-CZ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Agenda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</a:t>
            </a:r>
            <a:r>
              <a:rPr lang="cs-CZ" dirty="0">
                <a:solidFill>
                  <a:schemeClr val="bg1"/>
                </a:solidFill>
              </a:rPr>
              <a:t>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</a:t>
            </a:r>
            <a:r>
              <a:rPr lang="cs-CZ" dirty="0">
                <a:solidFill>
                  <a:schemeClr val="bg1"/>
                </a:solidFill>
              </a:rPr>
              <a:t>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cs-CZ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867452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Agenda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0E08DD1-FBC8-48D5-A436-C5814352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7528AA-27E7-49CF-9362-2D8802BD7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64CF03-EC7F-45B1-8CC9-4D8BBCE0B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B2AF2B9C-AE75-EE43-AD16-A2AE11FDC0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969" y="145080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1.	Lorem ipsum dolor sit lorem ipsum 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6364D071-85C9-9A4B-ADF3-54438B5312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4969" y="2257833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.	Lorem ipsum dolor sit amet lorem ipsum dolor sit amet lorem sit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4D43D353-8F9C-6B43-9E45-2D5C89FA88B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4969" y="3064865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DD3D6175-81D4-F548-97D5-AC5DAFD6A0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969" y="3871897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.	 Lorem ipsum dolor sit amet lorem ipsum dolor sit amet lorem sit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D4C6F86-1AE2-1749-960E-E100264AF5D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4969" y="4678929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457200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.	 Lorem ipsum dolor sit amet lorem ipsum dolor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0A76A09-5269-B84D-8221-59E3A2C560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4969" y="5485961"/>
            <a:ext cx="6895900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6.	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376432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Přidat nadpis</a:t>
            </a:r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1BE1F4BE-99C4-4AF5-87C8-E59DC89A13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852EBC74-C4E5-4080-A813-B55831C4A9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C158FD50-5D8D-4ADC-B424-70C6506359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cs-CZ" dirty="0"/>
              <a:t>První úroveň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  <a:p>
            <a:pPr lvl="5"/>
            <a:r>
              <a:rPr lang="cs-CZ" dirty="0"/>
              <a:t>Šestá úroveň</a:t>
            </a:r>
          </a:p>
          <a:p>
            <a:pPr lvl="6"/>
            <a:r>
              <a:rPr lang="cs-CZ" dirty="0"/>
              <a:t>Sedmá úroveň</a:t>
            </a:r>
          </a:p>
          <a:p>
            <a:pPr lvl="7"/>
            <a:r>
              <a:rPr lang="cs-CZ" dirty="0"/>
              <a:t>Osmá úroveň</a:t>
            </a:r>
          </a:p>
          <a:p>
            <a:pPr lvl="8"/>
            <a:r>
              <a:rPr lang="cs-CZ" dirty="0"/>
              <a:t>Devátá úroveň</a:t>
            </a:r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2797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image" Target="../media/image14.emf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tags" Target="../tags/tag1.xml"/><Relationship Id="rId40" Type="http://schemas.openxmlformats.org/officeDocument/2006/relationships/image" Target="../media/image1.png"/><Relationship Id="rId45" Type="http://schemas.openxmlformats.org/officeDocument/2006/relationships/image" Target="../media/image6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image" Target="../media/image15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image" Target="../media/image4.svg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oleObject" Target="../embeddings/oleObject1.bin"/><Relationship Id="rId46" Type="http://schemas.openxmlformats.org/officeDocument/2006/relationships/image" Target="../media/image7.png"/><Relationship Id="rId20" Type="http://schemas.openxmlformats.org/officeDocument/2006/relationships/slideLayout" Target="../slideLayouts/slideLayout46.xml"/><Relationship Id="rId41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pic>
        <p:nvPicPr>
          <p:cNvPr id="24" name="Logo">
            <a:extLst>
              <a:ext uri="{FF2B5EF4-FFF2-40B4-BE49-F238E27FC236}">
                <a16:creationId xmlns:a16="http://schemas.microsoft.com/office/drawing/2014/main" id="{B928CE48-43EB-3D4A-B200-44780FC88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2" name="Page Number" hidden="1">
            <a:extLst>
              <a:ext uri="{FF2B5EF4-FFF2-40B4-BE49-F238E27FC236}">
                <a16:creationId xmlns:a16="http://schemas.microsoft.com/office/drawing/2014/main" id="{E0F55538-0667-415D-8562-6F56383B52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4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 dirty="0"/>
          </a:p>
        </p:txBody>
      </p:sp>
      <p:sp>
        <p:nvSpPr>
          <p:cNvPr id="10" name="Date" hidden="1">
            <a:extLst>
              <a:ext uri="{FF2B5EF4-FFF2-40B4-BE49-F238E27FC236}">
                <a16:creationId xmlns:a16="http://schemas.microsoft.com/office/drawing/2014/main" id="{D4A6121E-1CA8-4E35-BF91-EC4A8EDCBE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3" name="Footer" hidden="1">
            <a:extLst>
              <a:ext uri="{FF2B5EF4-FFF2-40B4-BE49-F238E27FC236}">
                <a16:creationId xmlns:a16="http://schemas.microsoft.com/office/drawing/2014/main" id="{136DA158-8F2A-4224-9DC1-257EDC6F9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 defTabSz="914400"/>
            <a:endParaRPr lang="de-DE" dirty="0"/>
          </a:p>
        </p:txBody>
      </p:sp>
      <p:pic>
        <p:nvPicPr>
          <p:cNvPr id="7" name="Classification: Confidential" hidden="1">
            <a:extLst>
              <a:ext uri="{FF2B5EF4-FFF2-40B4-BE49-F238E27FC236}">
                <a16:creationId xmlns:a16="http://schemas.microsoft.com/office/drawing/2014/main" id="{710608CE-86F1-4071-B92A-B0554CE40F5C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624" y="6460688"/>
            <a:ext cx="1146050" cy="172387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  <p:pic>
        <p:nvPicPr>
          <p:cNvPr id="15" name="Classification: Confidential" hidden="1">
            <a:extLst>
              <a:ext uri="{FF2B5EF4-FFF2-40B4-BE49-F238E27FC236}">
                <a16:creationId xmlns:a16="http://schemas.microsoft.com/office/drawing/2014/main" id="{672CF6BF-76BB-2448-AAA2-592BDD635457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7024" y="6458479"/>
            <a:ext cx="1146050" cy="17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58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92" r:id="rId2"/>
    <p:sldLayoutId id="2147483793" r:id="rId3"/>
    <p:sldLayoutId id="2147483765" r:id="rId4"/>
    <p:sldLayoutId id="2147483679" r:id="rId5"/>
    <p:sldLayoutId id="2147483764" r:id="rId6"/>
    <p:sldLayoutId id="2147483776" r:id="rId7"/>
    <p:sldLayoutId id="2147483778" r:id="rId8"/>
    <p:sldLayoutId id="2147483674" r:id="rId9"/>
    <p:sldLayoutId id="2147483676" r:id="rId10"/>
    <p:sldLayoutId id="2147483712" r:id="rId11"/>
    <p:sldLayoutId id="2147483759" r:id="rId12"/>
    <p:sldLayoutId id="2147483677" r:id="rId13"/>
    <p:sldLayoutId id="2147483760" r:id="rId14"/>
    <p:sldLayoutId id="2147483680" r:id="rId15"/>
    <p:sldLayoutId id="2147483779" r:id="rId16"/>
    <p:sldLayoutId id="2147483681" r:id="rId17"/>
    <p:sldLayoutId id="2147483767" r:id="rId18"/>
    <p:sldLayoutId id="2147483768" r:id="rId19"/>
    <p:sldLayoutId id="2147483771" r:id="rId20"/>
    <p:sldLayoutId id="2147483777" r:id="rId21"/>
    <p:sldLayoutId id="2147483774" r:id="rId22"/>
    <p:sldLayoutId id="2147483780" r:id="rId23"/>
    <p:sldLayoutId id="2147483785" r:id="rId24"/>
    <p:sldLayoutId id="2147483790" r:id="rId25"/>
    <p:sldLayoutId id="2147483794" r:id="rId2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913" userDrawn="1">
          <p15:clr>
            <a:srgbClr val="F26B43"/>
          </p15:clr>
        </p15:guide>
        <p15:guide id="8" pos="74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FF7C45-D067-4D12-8A1F-EE7868D59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600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47" imgH="348" progId="TCLayout.ActiveDocument.1">
                  <p:embed/>
                </p:oleObj>
              </mc:Choice>
              <mc:Fallback>
                <p:oleObj name="think-cell Folie" r:id="rId38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FF7C45-D067-4D12-8A1F-EE7868D59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pic>
        <p:nvPicPr>
          <p:cNvPr id="24" name="Logo">
            <a:extLst>
              <a:ext uri="{FF2B5EF4-FFF2-40B4-BE49-F238E27FC236}">
                <a16:creationId xmlns:a16="http://schemas.microsoft.com/office/drawing/2014/main" id="{B928CE48-43EB-3D4A-B200-44780FC88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2" name="Page Number">
            <a:extLst>
              <a:ext uri="{FF2B5EF4-FFF2-40B4-BE49-F238E27FC236}">
                <a16:creationId xmlns:a16="http://schemas.microsoft.com/office/drawing/2014/main" id="{E0F55538-0667-415D-8562-6F56383B52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4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‹#›</a:t>
            </a:fld>
            <a:endParaRPr lang="de-DE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D4A6121E-1CA8-4E35-BF91-EC4A8EDCBE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7173" y="6457154"/>
            <a:ext cx="845176" cy="1800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33" name="Footer">
            <a:extLst>
              <a:ext uri="{FF2B5EF4-FFF2-40B4-BE49-F238E27FC236}">
                <a16:creationId xmlns:a16="http://schemas.microsoft.com/office/drawing/2014/main" id="{136DA158-8F2A-4224-9DC1-257EDC6F9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6828" y="6458429"/>
            <a:ext cx="37287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lvl1pPr algn="l">
              <a:defRPr lang="de-DE" sz="1100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l" defTabSz="914400"/>
            <a:r>
              <a:rPr lang="de-DE"/>
              <a:t>M:IP - Mission: Infection Prevention</a:t>
            </a:r>
          </a:p>
        </p:txBody>
      </p:sp>
      <p:pic>
        <p:nvPicPr>
          <p:cNvPr id="6" name="Classification: Strictly Confidential" hidden="1">
            <a:extLst>
              <a:ext uri="{FF2B5EF4-FFF2-40B4-BE49-F238E27FC236}">
                <a16:creationId xmlns:a16="http://schemas.microsoft.com/office/drawing/2014/main" id="{1BB65F03-1113-4A84-B645-C7E625F6156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938" y="6462215"/>
            <a:ext cx="1759744" cy="172048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23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  <p:sldLayoutId id="2147483822" r:id="rId27"/>
    <p:sldLayoutId id="2147483823" r:id="rId28"/>
    <p:sldLayoutId id="2147483824" r:id="rId29"/>
    <p:sldLayoutId id="2147483825" r:id="rId30"/>
    <p:sldLayoutId id="2147483826" r:id="rId31"/>
    <p:sldLayoutId id="2147483827" r:id="rId32"/>
    <p:sldLayoutId id="2147483828" r:id="rId33"/>
    <p:sldLayoutId id="2147483829" r:id="rId34"/>
    <p:sldLayoutId id="2147483830" r:id="rId3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3936">
          <p15:clr>
            <a:srgbClr val="F26B43"/>
          </p15:clr>
        </p15:guide>
        <p15:guide id="7" orient="horz" pos="913">
          <p15:clr>
            <a:srgbClr val="F26B43"/>
          </p15:clr>
        </p15:guide>
        <p15:guide id="8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8.gif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www.vah-liste.de/en/suche" TargetMode="Externa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8.sv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0" Type="http://schemas.openxmlformats.org/officeDocument/2006/relationships/image" Target="../media/image72.svg"/><Relationship Id="rId4" Type="http://schemas.openxmlformats.org/officeDocument/2006/relationships/image" Target="../media/image66.svg"/><Relationship Id="rId9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9B33C3-CFE7-4304-8C0D-384F3B4B43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Hygienická dezinfekce rukou – </a:t>
            </a:r>
            <a:br>
              <a:rPr lang="cs-CZ" dirty="0"/>
            </a:br>
            <a:r>
              <a:rPr lang="cs-CZ" dirty="0"/>
              <a:t>na množství záleží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4780428-00B4-4B62-B4BE-CFAEB572E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612E92-2ACC-48BF-ABDD-B5AD3283EB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etr Havlíček</a:t>
            </a:r>
            <a:endParaRPr lang="de-DE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1E0F1814-DB50-6DE6-F40A-E8F4EAE799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02880" y="5859825"/>
            <a:ext cx="3774528" cy="276225"/>
          </a:xfrm>
        </p:spPr>
        <p:txBody>
          <a:bodyPr/>
          <a:lstStyle/>
          <a:p>
            <a:r>
              <a:rPr lang="cs-CZ" dirty="0">
                <a:effectLst/>
                <a:latin typeface="+mn-lt"/>
                <a:ea typeface="Times New Roman" panose="02020603050405020304" pitchFamily="18" charset="0"/>
              </a:rPr>
              <a:t>Mezinárodní kongres - STERIL.CZ - Brno 2024</a:t>
            </a:r>
          </a:p>
          <a:p>
            <a:r>
              <a:rPr lang="cs-CZ" dirty="0">
                <a:effectLst/>
                <a:latin typeface="+mn-lt"/>
                <a:ea typeface="Times New Roman" panose="02020603050405020304" pitchFamily="18" charset="0"/>
              </a:rPr>
              <a:t>XVIII. výroční konference CSS / 1.10.2024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6867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84AC47-25B7-4854-9F4C-EEA6A6C955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/>
              <a:t>Naše podpora pro zlepšování hygieny rukou v nemocnicích</a:t>
            </a:r>
            <a:endParaRPr lang="en-US" noProof="0" dirty="0">
              <a:highlight>
                <a:srgbClr val="FFFF00"/>
              </a:highlight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AFF48AF-2A58-4C17-AEFF-135A2150A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41583A-3563-492F-AB96-D1658B840E5C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E185889F-128B-4A6C-9B01-36BD83183CD7}"/>
              </a:ext>
            </a:extLst>
          </p:cNvPr>
          <p:cNvSpPr/>
          <p:nvPr/>
        </p:nvSpPr>
        <p:spPr bwMode="gray">
          <a:xfrm>
            <a:off x="484409" y="5034866"/>
            <a:ext cx="5720620" cy="697474"/>
          </a:xfrm>
          <a:custGeom>
            <a:avLst/>
            <a:gdLst>
              <a:gd name="connsiteX0" fmla="*/ 534464 w 6019320"/>
              <a:gd name="connsiteY0" fmla="*/ 0 h 733892"/>
              <a:gd name="connsiteX1" fmla="*/ 5484857 w 6019320"/>
              <a:gd name="connsiteY1" fmla="*/ 0 h 733892"/>
              <a:gd name="connsiteX2" fmla="*/ 6019320 w 6019320"/>
              <a:gd name="connsiteY2" fmla="*/ 733892 h 733892"/>
              <a:gd name="connsiteX3" fmla="*/ 0 w 6019320"/>
              <a:gd name="connsiteY3" fmla="*/ 733892 h 733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9320" h="733892">
                <a:moveTo>
                  <a:pt x="534464" y="0"/>
                </a:moveTo>
                <a:lnTo>
                  <a:pt x="5484857" y="0"/>
                </a:lnTo>
                <a:lnTo>
                  <a:pt x="6019320" y="733892"/>
                </a:lnTo>
                <a:lnTo>
                  <a:pt x="0" y="733892"/>
                </a:lnTo>
                <a:close/>
              </a:path>
            </a:pathLst>
          </a:custGeom>
          <a:solidFill>
            <a:srgbClr val="001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000" err="1">
              <a:latin typeface="Calibri" panose="020F0502020204030204" pitchFamily="34" charset="0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F4BC26B9-9227-4E3B-8BA1-7DF9995B9D60}"/>
              </a:ext>
            </a:extLst>
          </p:cNvPr>
          <p:cNvCxnSpPr>
            <a:cxnSpLocks/>
          </p:cNvCxnSpPr>
          <p:nvPr/>
        </p:nvCxnSpPr>
        <p:spPr bwMode="gray">
          <a:xfrm>
            <a:off x="4509714" y="3316735"/>
            <a:ext cx="664568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B6DC42B-2D66-4A90-9FD7-51389758FD1F}"/>
              </a:ext>
            </a:extLst>
          </p:cNvPr>
          <p:cNvCxnSpPr>
            <a:cxnSpLocks/>
          </p:cNvCxnSpPr>
          <p:nvPr/>
        </p:nvCxnSpPr>
        <p:spPr bwMode="gray">
          <a:xfrm>
            <a:off x="5123825" y="4124266"/>
            <a:ext cx="603157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4A311C31-8957-4E15-B4EC-8F562ADF15BD}"/>
              </a:ext>
            </a:extLst>
          </p:cNvPr>
          <p:cNvCxnSpPr>
            <a:cxnSpLocks/>
          </p:cNvCxnSpPr>
          <p:nvPr/>
        </p:nvCxnSpPr>
        <p:spPr bwMode="gray">
          <a:xfrm>
            <a:off x="5703174" y="4931797"/>
            <a:ext cx="545222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203039C-88C6-4203-9DA5-9768D9E1DCEC}"/>
              </a:ext>
            </a:extLst>
          </p:cNvPr>
          <p:cNvSpPr/>
          <p:nvPr/>
        </p:nvSpPr>
        <p:spPr bwMode="gray">
          <a:xfrm>
            <a:off x="1067412" y="4227336"/>
            <a:ext cx="4554615" cy="704462"/>
          </a:xfrm>
          <a:custGeom>
            <a:avLst/>
            <a:gdLst>
              <a:gd name="connsiteX0" fmla="*/ 539819 w 4792432"/>
              <a:gd name="connsiteY0" fmla="*/ 0 h 741245"/>
              <a:gd name="connsiteX1" fmla="*/ 4252614 w 4792432"/>
              <a:gd name="connsiteY1" fmla="*/ 0 h 741245"/>
              <a:gd name="connsiteX2" fmla="*/ 4792432 w 4792432"/>
              <a:gd name="connsiteY2" fmla="*/ 741245 h 741245"/>
              <a:gd name="connsiteX3" fmla="*/ 0 w 4792432"/>
              <a:gd name="connsiteY3" fmla="*/ 741245 h 741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92432" h="741245">
                <a:moveTo>
                  <a:pt x="539819" y="0"/>
                </a:moveTo>
                <a:lnTo>
                  <a:pt x="4252614" y="0"/>
                </a:lnTo>
                <a:lnTo>
                  <a:pt x="4792432" y="741245"/>
                </a:lnTo>
                <a:lnTo>
                  <a:pt x="0" y="741245"/>
                </a:lnTo>
                <a:close/>
              </a:path>
            </a:pathLst>
          </a:custGeom>
          <a:solidFill>
            <a:srgbClr val="004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000" err="1">
              <a:latin typeface="Calibri" panose="020F0502020204030204" pitchFamily="34" charset="0"/>
            </a:endParaRPr>
          </a:p>
        </p:txBody>
      </p:sp>
      <p:sp>
        <p:nvSpPr>
          <p:cNvPr id="43" name="Freihandform: Form 42">
            <a:extLst>
              <a:ext uri="{FF2B5EF4-FFF2-40B4-BE49-F238E27FC236}">
                <a16:creationId xmlns:a16="http://schemas.microsoft.com/office/drawing/2014/main" id="{CB8A6CF1-52F6-46F2-A5EF-DE6237DE462C}"/>
              </a:ext>
            </a:extLst>
          </p:cNvPr>
          <p:cNvSpPr/>
          <p:nvPr/>
        </p:nvSpPr>
        <p:spPr bwMode="gray">
          <a:xfrm>
            <a:off x="1655504" y="3419805"/>
            <a:ext cx="3378431" cy="704462"/>
          </a:xfrm>
          <a:custGeom>
            <a:avLst/>
            <a:gdLst>
              <a:gd name="connsiteX0" fmla="*/ 539819 w 3554834"/>
              <a:gd name="connsiteY0" fmla="*/ 0 h 741245"/>
              <a:gd name="connsiteX1" fmla="*/ 3015016 w 3554834"/>
              <a:gd name="connsiteY1" fmla="*/ 0 h 741245"/>
              <a:gd name="connsiteX2" fmla="*/ 3554834 w 3554834"/>
              <a:gd name="connsiteY2" fmla="*/ 741245 h 741245"/>
              <a:gd name="connsiteX3" fmla="*/ 0 w 3554834"/>
              <a:gd name="connsiteY3" fmla="*/ 741245 h 741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4834" h="741245">
                <a:moveTo>
                  <a:pt x="539819" y="0"/>
                </a:moveTo>
                <a:lnTo>
                  <a:pt x="3015016" y="0"/>
                </a:lnTo>
                <a:lnTo>
                  <a:pt x="3554834" y="741245"/>
                </a:lnTo>
                <a:lnTo>
                  <a:pt x="0" y="741245"/>
                </a:lnTo>
                <a:close/>
              </a:path>
            </a:pathLst>
          </a:custGeom>
          <a:solidFill>
            <a:srgbClr val="00B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000" err="1">
              <a:latin typeface="Calibri" panose="020F0502020204030204" pitchFamily="34" charset="0"/>
            </a:endParaRPr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EBB4B7DA-C7C4-4DAC-9FFC-DF3AB321E2C2}"/>
              </a:ext>
            </a:extLst>
          </p:cNvPr>
          <p:cNvSpPr/>
          <p:nvPr/>
        </p:nvSpPr>
        <p:spPr bwMode="gray">
          <a:xfrm>
            <a:off x="2243596" y="2612274"/>
            <a:ext cx="2202247" cy="704462"/>
          </a:xfrm>
          <a:custGeom>
            <a:avLst/>
            <a:gdLst>
              <a:gd name="connsiteX0" fmla="*/ 539818 w 2317236"/>
              <a:gd name="connsiteY0" fmla="*/ 0 h 741245"/>
              <a:gd name="connsiteX1" fmla="*/ 1777418 w 2317236"/>
              <a:gd name="connsiteY1" fmla="*/ 0 h 741245"/>
              <a:gd name="connsiteX2" fmla="*/ 2317236 w 2317236"/>
              <a:gd name="connsiteY2" fmla="*/ 741245 h 741245"/>
              <a:gd name="connsiteX3" fmla="*/ 0 w 2317236"/>
              <a:gd name="connsiteY3" fmla="*/ 741245 h 741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7236" h="741245">
                <a:moveTo>
                  <a:pt x="539818" y="0"/>
                </a:moveTo>
                <a:lnTo>
                  <a:pt x="1777418" y="0"/>
                </a:lnTo>
                <a:lnTo>
                  <a:pt x="2317236" y="741245"/>
                </a:lnTo>
                <a:lnTo>
                  <a:pt x="0" y="741245"/>
                </a:lnTo>
                <a:close/>
              </a:path>
            </a:pathLst>
          </a:custGeom>
          <a:solidFill>
            <a:srgbClr val="00D8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000" err="1">
              <a:latin typeface="Calibri" panose="020F0502020204030204" pitchFamily="34" charset="0"/>
            </a:endParaRPr>
          </a:p>
        </p:txBody>
      </p:sp>
      <p:sp>
        <p:nvSpPr>
          <p:cNvPr id="54" name="Freihandform: Form 53">
            <a:extLst>
              <a:ext uri="{FF2B5EF4-FFF2-40B4-BE49-F238E27FC236}">
                <a16:creationId xmlns:a16="http://schemas.microsoft.com/office/drawing/2014/main" id="{26FE919C-3F23-4FF1-A1FD-3A6BEEFD56E3}"/>
              </a:ext>
            </a:extLst>
          </p:cNvPr>
          <p:cNvSpPr/>
          <p:nvPr/>
        </p:nvSpPr>
        <p:spPr bwMode="gray">
          <a:xfrm>
            <a:off x="2831688" y="1804741"/>
            <a:ext cx="1026063" cy="704463"/>
          </a:xfrm>
          <a:custGeom>
            <a:avLst/>
            <a:gdLst>
              <a:gd name="connsiteX0" fmla="*/ 539819 w 1079638"/>
              <a:gd name="connsiteY0" fmla="*/ 0 h 741246"/>
              <a:gd name="connsiteX1" fmla="*/ 1079638 w 1079638"/>
              <a:gd name="connsiteY1" fmla="*/ 741246 h 741246"/>
              <a:gd name="connsiteX2" fmla="*/ 0 w 1079638"/>
              <a:gd name="connsiteY2" fmla="*/ 741246 h 741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9638" h="741246">
                <a:moveTo>
                  <a:pt x="539819" y="0"/>
                </a:moveTo>
                <a:lnTo>
                  <a:pt x="1079638" y="741246"/>
                </a:lnTo>
                <a:lnTo>
                  <a:pt x="0" y="741246"/>
                </a:lnTo>
                <a:close/>
              </a:path>
            </a:pathLst>
          </a:custGeom>
          <a:solidFill>
            <a:srgbClr val="84DA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000" err="1">
              <a:latin typeface="Calibri" panose="020F0502020204030204" pitchFamily="34" charset="0"/>
            </a:endParaRP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15559ABA-6341-43F8-9DAF-E2CFBC909258}"/>
              </a:ext>
            </a:extLst>
          </p:cNvPr>
          <p:cNvCxnSpPr>
            <a:cxnSpLocks/>
          </p:cNvCxnSpPr>
          <p:nvPr/>
        </p:nvCxnSpPr>
        <p:spPr bwMode="gray">
          <a:xfrm>
            <a:off x="3930365" y="2509204"/>
            <a:ext cx="722503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41D17B87-ACD9-4058-AFF9-7E73EBE41E92}"/>
              </a:ext>
            </a:extLst>
          </p:cNvPr>
          <p:cNvCxnSpPr>
            <a:cxnSpLocks/>
          </p:cNvCxnSpPr>
          <p:nvPr/>
        </p:nvCxnSpPr>
        <p:spPr bwMode="gray">
          <a:xfrm>
            <a:off x="6276155" y="5732340"/>
            <a:ext cx="5508000" cy="0"/>
          </a:xfrm>
          <a:prstGeom prst="line">
            <a:avLst/>
          </a:prstGeom>
          <a:ln>
            <a:solidFill>
              <a:srgbClr val="ADAD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487ACBF6-E5D0-4486-A4A2-C330513A28D6}"/>
              </a:ext>
            </a:extLst>
          </p:cNvPr>
          <p:cNvCxnSpPr>
            <a:cxnSpLocks/>
          </p:cNvCxnSpPr>
          <p:nvPr/>
        </p:nvCxnSpPr>
        <p:spPr bwMode="gray">
          <a:xfrm>
            <a:off x="4494155" y="3316735"/>
            <a:ext cx="7290000" cy="0"/>
          </a:xfrm>
          <a:prstGeom prst="line">
            <a:avLst/>
          </a:prstGeom>
          <a:ln>
            <a:solidFill>
              <a:srgbClr val="ADAD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4F416F2B-0165-4FD9-89D7-6AAF32D21D78}"/>
              </a:ext>
            </a:extLst>
          </p:cNvPr>
          <p:cNvCxnSpPr>
            <a:cxnSpLocks/>
          </p:cNvCxnSpPr>
          <p:nvPr/>
        </p:nvCxnSpPr>
        <p:spPr bwMode="gray">
          <a:xfrm>
            <a:off x="5106155" y="4124266"/>
            <a:ext cx="6678000" cy="0"/>
          </a:xfrm>
          <a:prstGeom prst="line">
            <a:avLst/>
          </a:prstGeom>
          <a:ln>
            <a:solidFill>
              <a:srgbClr val="ADAD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561225F8-97D9-4356-A29E-EB8D0509A7FF}"/>
              </a:ext>
            </a:extLst>
          </p:cNvPr>
          <p:cNvCxnSpPr>
            <a:cxnSpLocks/>
          </p:cNvCxnSpPr>
          <p:nvPr/>
        </p:nvCxnSpPr>
        <p:spPr bwMode="gray">
          <a:xfrm>
            <a:off x="5700155" y="4931797"/>
            <a:ext cx="6084000" cy="0"/>
          </a:xfrm>
          <a:prstGeom prst="line">
            <a:avLst/>
          </a:prstGeom>
          <a:ln>
            <a:solidFill>
              <a:srgbClr val="ADAD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99FD0F05-79CC-4F0C-B608-361F758BF2AE}"/>
              </a:ext>
            </a:extLst>
          </p:cNvPr>
          <p:cNvCxnSpPr>
            <a:cxnSpLocks/>
          </p:cNvCxnSpPr>
          <p:nvPr/>
        </p:nvCxnSpPr>
        <p:spPr bwMode="gray">
          <a:xfrm>
            <a:off x="3918155" y="2509204"/>
            <a:ext cx="7866000" cy="0"/>
          </a:xfrm>
          <a:prstGeom prst="line">
            <a:avLst/>
          </a:prstGeom>
          <a:ln>
            <a:solidFill>
              <a:srgbClr val="ADAD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>
            <a:extLst>
              <a:ext uri="{FF2B5EF4-FFF2-40B4-BE49-F238E27FC236}">
                <a16:creationId xmlns:a16="http://schemas.microsoft.com/office/drawing/2014/main" id="{520762D8-FDD0-4A6E-9718-66F6D64F8648}"/>
              </a:ext>
            </a:extLst>
          </p:cNvPr>
          <p:cNvSpPr txBox="1"/>
          <p:nvPr/>
        </p:nvSpPr>
        <p:spPr>
          <a:xfrm>
            <a:off x="1841397" y="3767592"/>
            <a:ext cx="3006657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Evoluční koncept hygieny rukou</a:t>
            </a:r>
            <a:endParaRPr lang="da-DK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31AD0352-794B-42A3-9605-67033153FA17}"/>
              </a:ext>
            </a:extLst>
          </p:cNvPr>
          <p:cNvSpPr txBox="1"/>
          <p:nvPr/>
        </p:nvSpPr>
        <p:spPr>
          <a:xfrm>
            <a:off x="2570532" y="2701158"/>
            <a:ext cx="1548373" cy="55399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Mise: </a:t>
            </a:r>
          </a:p>
          <a:p>
            <a:pPr marL="0" indent="0" algn="ctr">
              <a:buNone/>
            </a:pPr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Prevence infekcí</a:t>
            </a:r>
            <a:endParaRPr lang="da-DK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A6B978DA-7D04-4078-8ACD-437747CD7B81}"/>
              </a:ext>
            </a:extLst>
          </p:cNvPr>
          <p:cNvSpPr txBox="1"/>
          <p:nvPr/>
        </p:nvSpPr>
        <p:spPr>
          <a:xfrm>
            <a:off x="2628179" y="4580392"/>
            <a:ext cx="1433086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cs-CZ" b="1" dirty="0" err="1">
                <a:solidFill>
                  <a:schemeClr val="bg1"/>
                </a:solidFill>
                <a:latin typeface="Calibri" panose="020F0502020204030204" pitchFamily="34" charset="0"/>
              </a:rPr>
              <a:t>Compliance</a:t>
            </a:r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cs-CZ" b="1" dirty="0" err="1">
                <a:solidFill>
                  <a:schemeClr val="bg1"/>
                </a:solidFill>
                <a:latin typeface="Calibri" panose="020F0502020204030204" pitchFamily="34" charset="0"/>
              </a:rPr>
              <a:t>Kit</a:t>
            </a:r>
            <a:endParaRPr lang="da-DK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C8AC3DE-8323-42AC-A62F-99F67F064AED}"/>
              </a:ext>
            </a:extLst>
          </p:cNvPr>
          <p:cNvSpPr txBox="1"/>
          <p:nvPr/>
        </p:nvSpPr>
        <p:spPr>
          <a:xfrm>
            <a:off x="2028381" y="5364164"/>
            <a:ext cx="2632708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cs-CZ" b="1" dirty="0">
                <a:solidFill>
                  <a:schemeClr val="bg1"/>
                </a:solidFill>
                <a:latin typeface="Calibri" panose="020F0502020204030204" pitchFamily="34" charset="0"/>
              </a:rPr>
              <a:t>Alkohol místo vody a mýdla</a:t>
            </a:r>
            <a:endParaRPr lang="da-DK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0743C4E7-7033-44F8-B228-E26C120847ED}"/>
              </a:ext>
            </a:extLst>
          </p:cNvPr>
          <p:cNvSpPr txBox="1"/>
          <p:nvPr/>
        </p:nvSpPr>
        <p:spPr>
          <a:xfrm>
            <a:off x="4905697" y="3041875"/>
            <a:ext cx="6236259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cs-CZ" dirty="0">
                <a:latin typeface="Calibri" panose="020F0502020204030204" pitchFamily="34" charset="0"/>
              </a:rPr>
              <a:t>Partnerský program ke snižování infekcí spojených se zdravotní péčí</a:t>
            </a:r>
            <a:endParaRPr lang="da-DK" dirty="0">
              <a:latin typeface="Calibri" panose="020F0502020204030204" pitchFamily="34" charset="0"/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2F05130-550D-4644-BFED-F5F419A3EB96}"/>
              </a:ext>
            </a:extLst>
          </p:cNvPr>
          <p:cNvSpPr txBox="1"/>
          <p:nvPr/>
        </p:nvSpPr>
        <p:spPr>
          <a:xfrm>
            <a:off x="5511668" y="3840161"/>
            <a:ext cx="4889865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cs-CZ" dirty="0">
                <a:latin typeface="Calibri" panose="020F0502020204030204" pitchFamily="34" charset="0"/>
              </a:rPr>
              <a:t>Projekt k implementaci multimodální strategie WHO</a:t>
            </a:r>
            <a:endParaRPr lang="da-DK" dirty="0">
              <a:latin typeface="Calibri" panose="020F0502020204030204" pitchFamily="34" charset="0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FF43C5B3-FDD9-4787-9F9D-F6F167387AD3}"/>
              </a:ext>
            </a:extLst>
          </p:cNvPr>
          <p:cNvSpPr txBox="1"/>
          <p:nvPr/>
        </p:nvSpPr>
        <p:spPr>
          <a:xfrm>
            <a:off x="6117639" y="4638446"/>
            <a:ext cx="4501745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cs-CZ" dirty="0">
                <a:latin typeface="Calibri" panose="020F0502020204030204" pitchFamily="34" charset="0"/>
              </a:rPr>
              <a:t>Program ke zvyšování </a:t>
            </a:r>
            <a:r>
              <a:rPr lang="cs-CZ" dirty="0" err="1">
                <a:latin typeface="Calibri" panose="020F0502020204030204" pitchFamily="34" charset="0"/>
              </a:rPr>
              <a:t>compliance</a:t>
            </a:r>
            <a:r>
              <a:rPr lang="cs-CZ" dirty="0">
                <a:latin typeface="Calibri" panose="020F0502020204030204" pitchFamily="34" charset="0"/>
              </a:rPr>
              <a:t> hygieny rukou</a:t>
            </a:r>
            <a:endParaRPr lang="da-DK" dirty="0">
              <a:latin typeface="Calibri" panose="020F0502020204030204" pitchFamily="34" charset="0"/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371F15D7-903A-43B0-9D50-D6F137A84AF5}"/>
              </a:ext>
            </a:extLst>
          </p:cNvPr>
          <p:cNvSpPr txBox="1"/>
          <p:nvPr/>
        </p:nvSpPr>
        <p:spPr>
          <a:xfrm>
            <a:off x="6723611" y="5451247"/>
            <a:ext cx="3157724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270000" indent="-270000">
              <a:buClr>
                <a:srgbClr val="0045FF"/>
              </a:buClr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cs-CZ" dirty="0">
                <a:latin typeface="Calibri" panose="020F0502020204030204" pitchFamily="34" charset="0"/>
              </a:rPr>
              <a:t>Změna v provádění hygieny rukou</a:t>
            </a:r>
            <a:endParaRPr lang="da-DK" dirty="0"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6217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FFBD17-132F-B842-9523-A311F4D009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60000" y="2599200"/>
            <a:ext cx="6516754" cy="2268000"/>
          </a:xfrm>
        </p:spPr>
        <p:txBody>
          <a:bodyPr/>
          <a:lstStyle/>
          <a:p>
            <a:r>
              <a:rPr lang="cs-CZ" dirty="0"/>
              <a:t>Množství alkoholu v přípravku</a:t>
            </a:r>
            <a:endParaRPr lang="en-US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C7FA320-34C7-3147-A9B4-F7C6FA7491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676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514076"/>
          </a:xfrm>
        </p:spPr>
        <p:txBody>
          <a:bodyPr/>
          <a:lstStyle/>
          <a:p>
            <a:r>
              <a:rPr lang="cs-CZ" dirty="0"/>
              <a:t>Hygienická dezinfekce rukou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2</a:t>
            </a:fld>
            <a:endParaRPr lang="de-DE"/>
          </a:p>
        </p:txBody>
      </p:sp>
      <p:sp>
        <p:nvSpPr>
          <p:cNvPr id="2" name="Textfeld 7">
            <a:extLst>
              <a:ext uri="{FF2B5EF4-FFF2-40B4-BE49-F238E27FC236}">
                <a16:creationId xmlns:a16="http://schemas.microsoft.com/office/drawing/2014/main" id="{DBF8F541-2B28-D505-7A2E-08867BFC0805}"/>
              </a:ext>
            </a:extLst>
          </p:cNvPr>
          <p:cNvSpPr txBox="1"/>
          <p:nvPr/>
        </p:nvSpPr>
        <p:spPr>
          <a:xfrm>
            <a:off x="588668" y="1513222"/>
            <a:ext cx="6143058" cy="17786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Hygienická dezinfekce rukou se provádí alkoholovými dezinfekčními přípravky.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Požadavky na přípravky:</a:t>
            </a:r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používat v přípravcích alkohol v množství </a:t>
            </a:r>
            <a:r>
              <a:rPr lang="de-DE" dirty="0"/>
              <a:t>60 a</a:t>
            </a:r>
            <a:r>
              <a:rPr lang="cs-CZ" dirty="0"/>
              <a:t>ž</a:t>
            </a:r>
            <a:r>
              <a:rPr lang="de-DE" dirty="0"/>
              <a:t> 95%</a:t>
            </a:r>
            <a:r>
              <a:rPr lang="de-DE" baseline="30000" dirty="0"/>
              <a:t>1,2</a:t>
            </a:r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splnit požadavky </a:t>
            </a:r>
            <a:r>
              <a:rPr lang="de-DE" dirty="0"/>
              <a:t>EN 1500 </a:t>
            </a:r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baseline="30000" dirty="0"/>
          </a:p>
          <a:p>
            <a:pPr algn="l">
              <a:buClr>
                <a:srgbClr val="0045FF"/>
              </a:buClr>
            </a:pPr>
            <a:r>
              <a:rPr lang="de-DE" dirty="0"/>
              <a:t>  </a:t>
            </a:r>
          </a:p>
        </p:txBody>
      </p:sp>
      <p:sp>
        <p:nvSpPr>
          <p:cNvPr id="7" name="Textfeld 8">
            <a:extLst>
              <a:ext uri="{FF2B5EF4-FFF2-40B4-BE49-F238E27FC236}">
                <a16:creationId xmlns:a16="http://schemas.microsoft.com/office/drawing/2014/main" id="{9C1B8257-5789-F40C-167D-A3662A98C4BA}"/>
              </a:ext>
            </a:extLst>
          </p:cNvPr>
          <p:cNvSpPr txBox="1"/>
          <p:nvPr/>
        </p:nvSpPr>
        <p:spPr>
          <a:xfrm>
            <a:off x="588668" y="5540857"/>
            <a:ext cx="34419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00" b="0" i="0" u="none" strike="noStrike" baseline="30000" dirty="0">
                <a:latin typeface="Roboto-Thin"/>
              </a:rPr>
              <a:t>1 </a:t>
            </a:r>
            <a:r>
              <a:rPr lang="en-US" sz="800" b="0" i="0" u="none" strike="noStrike" baseline="0" dirty="0">
                <a:latin typeface="Roboto-Thin"/>
              </a:rPr>
              <a:t>APIC Guide to Hand Hygiene Programs for Infection Prevention (2015)</a:t>
            </a:r>
          </a:p>
          <a:p>
            <a:pPr algn="l"/>
            <a:r>
              <a:rPr lang="en-US" sz="800" b="0" i="0" u="none" strike="noStrike" baseline="30000" dirty="0">
                <a:latin typeface="Roboto-Medium"/>
              </a:rPr>
              <a:t>2</a:t>
            </a:r>
            <a:r>
              <a:rPr lang="en-US" sz="800" b="0" i="0" u="none" strike="noStrike" baseline="0" dirty="0">
                <a:latin typeface="Roboto-Medium"/>
              </a:rPr>
              <a:t> </a:t>
            </a:r>
            <a:r>
              <a:rPr lang="en-US" sz="800" b="0" i="0" u="none" strike="noStrike" baseline="0" dirty="0">
                <a:latin typeface="Roboto-Thin"/>
              </a:rPr>
              <a:t>CDC Guideline for Hand Hygiene in Health-Care Settings (2002)</a:t>
            </a:r>
            <a:endParaRPr lang="de-DE" dirty="0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520DC63D-7792-3288-CD79-AFB3CCAF663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13858" y="974162"/>
            <a:ext cx="3262993" cy="3262993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D7CBDA85-30C8-CF56-D2A2-1011C464E6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1135" y="1424559"/>
            <a:ext cx="1428750" cy="23622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89B599E2-C693-696A-BE53-F58107796A5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20825" y="938445"/>
            <a:ext cx="2561025" cy="2561025"/>
          </a:xfrm>
          <a:prstGeom prst="rect">
            <a:avLst/>
          </a:prstGeom>
        </p:spPr>
      </p:pic>
      <p:pic>
        <p:nvPicPr>
          <p:cNvPr id="16" name="Picture 2" descr="Bild">
            <a:extLst>
              <a:ext uri="{FF2B5EF4-FFF2-40B4-BE49-F238E27FC236}">
                <a16:creationId xmlns:a16="http://schemas.microsoft.com/office/drawing/2014/main" id="{55894FDA-6324-26C9-DA18-EA8B3BAEF2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6873" y="3131017"/>
            <a:ext cx="2827400" cy="282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Obrázek 21" descr="Obsah obrázku text, Plastová láhev, Řešení, Rozpustné/rozpouštědlo&#10;&#10;Popis byl vytvořen automaticky">
            <a:extLst>
              <a:ext uri="{FF2B5EF4-FFF2-40B4-BE49-F238E27FC236}">
                <a16:creationId xmlns:a16="http://schemas.microsoft.com/office/drawing/2014/main" id="{9D2DAF6D-4A70-8A9B-7275-3FAF1D2AAE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2192" y="3301276"/>
            <a:ext cx="2118906" cy="3312807"/>
          </a:xfrm>
          <a:prstGeom prst="rect">
            <a:avLst/>
          </a:prstGeom>
        </p:spPr>
      </p:pic>
      <p:pic>
        <p:nvPicPr>
          <p:cNvPr id="24" name="Obrázek 23" descr="Obsah obrázku text, toaletní potřeby, krém, Plastová láhev&#10;&#10;Popis byl vytvořen automaticky">
            <a:extLst>
              <a:ext uri="{FF2B5EF4-FFF2-40B4-BE49-F238E27FC236}">
                <a16:creationId xmlns:a16="http://schemas.microsoft.com/office/drawing/2014/main" id="{8156991D-E98E-AA7F-A8EA-D3CD1B106B72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776" y="3272283"/>
            <a:ext cx="2176847" cy="340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740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43618C-3174-3311-FE0B-AF251CD35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493200"/>
          </a:xfrm>
        </p:spPr>
        <p:txBody>
          <a:bodyPr/>
          <a:lstStyle/>
          <a:p>
            <a:r>
              <a:rPr lang="cs-CZ" dirty="0"/>
              <a:t>Množství alkoholu v dezinfekčním přípravku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78908332-81A3-7D36-FF95-E139C6B9540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D5C11B-BB1E-2C87-46AC-556BF66BD74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3FBAE7-1280-2C5A-44A1-82672A95138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3</a:t>
            </a:fld>
            <a:endParaRPr lang="de-DE" dirty="0"/>
          </a:p>
        </p:txBody>
      </p:sp>
      <p:sp>
        <p:nvSpPr>
          <p:cNvPr id="9" name="Textplatzhalter 26">
            <a:extLst>
              <a:ext uri="{FF2B5EF4-FFF2-40B4-BE49-F238E27FC236}">
                <a16:creationId xmlns:a16="http://schemas.microsoft.com/office/drawing/2014/main" id="{58D8E1D0-CD15-1D5F-8F31-EABBD830AE48}"/>
              </a:ext>
            </a:extLst>
          </p:cNvPr>
          <p:cNvSpPr txBox="1">
            <a:spLocks/>
          </p:cNvSpPr>
          <p:nvPr/>
        </p:nvSpPr>
        <p:spPr>
          <a:xfrm>
            <a:off x="8612142" y="2815386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80 ml ve 100 ml?</a:t>
            </a:r>
          </a:p>
        </p:txBody>
      </p:sp>
      <p:sp>
        <p:nvSpPr>
          <p:cNvPr id="10" name="AutoShape 5">
            <a:extLst>
              <a:ext uri="{FF2B5EF4-FFF2-40B4-BE49-F238E27FC236}">
                <a16:creationId xmlns:a16="http://schemas.microsoft.com/office/drawing/2014/main" id="{27C87AED-D932-71B5-DFBD-80C02953A1E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018382" y="1504305"/>
            <a:ext cx="2155236" cy="997227"/>
          </a:xfrm>
          <a:prstGeom prst="roundRect">
            <a:avLst>
              <a:gd name="adj" fmla="val 12518"/>
            </a:avLst>
          </a:prstGeom>
          <a:solidFill>
            <a:srgbClr val="00BEF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algn="ctr">
              <a:buClr>
                <a:srgbClr val="0045FF"/>
              </a:buClr>
            </a:pPr>
            <a:r>
              <a:rPr lang="cs-CZ" sz="6600" b="1" dirty="0">
                <a:solidFill>
                  <a:schemeClr val="bg1"/>
                </a:solidFill>
              </a:rPr>
              <a:t>80 %</a:t>
            </a:r>
          </a:p>
        </p:txBody>
      </p:sp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DE11496E-301A-E10F-F996-7E65FA835541}"/>
              </a:ext>
            </a:extLst>
          </p:cNvPr>
          <p:cNvSpPr txBox="1">
            <a:spLocks/>
          </p:cNvSpPr>
          <p:nvPr/>
        </p:nvSpPr>
        <p:spPr>
          <a:xfrm>
            <a:off x="1424622" y="2815386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BE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80 g ve 100 g?</a:t>
            </a:r>
          </a:p>
        </p:txBody>
      </p: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69868552-0A48-F677-BC22-66A5DD2A706A}"/>
              </a:ext>
            </a:extLst>
          </p:cNvPr>
          <p:cNvCxnSpPr>
            <a:stCxn id="10" idx="1"/>
            <a:endCxn id="11" idx="3"/>
          </p:cNvCxnSpPr>
          <p:nvPr/>
        </p:nvCxnSpPr>
        <p:spPr>
          <a:xfrm flipH="1">
            <a:off x="3579858" y="2002919"/>
            <a:ext cx="1438524" cy="10590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DF6C14C2-7D2A-2DA9-7295-8F540EDF2309}"/>
              </a:ext>
            </a:extLst>
          </p:cNvPr>
          <p:cNvCxnSpPr>
            <a:cxnSpLocks/>
            <a:stCxn id="10" idx="3"/>
            <a:endCxn id="9" idx="1"/>
          </p:cNvCxnSpPr>
          <p:nvPr/>
        </p:nvCxnSpPr>
        <p:spPr>
          <a:xfrm>
            <a:off x="7173618" y="2002919"/>
            <a:ext cx="1438524" cy="105906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platzhalter 26">
            <a:extLst>
              <a:ext uri="{FF2B5EF4-FFF2-40B4-BE49-F238E27FC236}">
                <a16:creationId xmlns:a16="http://schemas.microsoft.com/office/drawing/2014/main" id="{18E4356E-DF98-A974-C468-354932E45C1B}"/>
              </a:ext>
            </a:extLst>
          </p:cNvPr>
          <p:cNvSpPr txBox="1">
            <a:spLocks/>
          </p:cNvSpPr>
          <p:nvPr/>
        </p:nvSpPr>
        <p:spPr>
          <a:xfrm>
            <a:off x="8612142" y="3352950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% (</a:t>
            </a:r>
            <a:r>
              <a:rPr lang="cs-CZ" dirty="0" err="1"/>
              <a:t>obj</a:t>
            </a:r>
            <a:r>
              <a:rPr lang="cs-CZ" dirty="0"/>
              <a:t>./</a:t>
            </a:r>
            <a:r>
              <a:rPr lang="cs-CZ" dirty="0" err="1"/>
              <a:t>obj</a:t>
            </a:r>
            <a:r>
              <a:rPr lang="cs-CZ" dirty="0"/>
              <a:t>.)</a:t>
            </a:r>
          </a:p>
        </p:txBody>
      </p:sp>
      <p:sp>
        <p:nvSpPr>
          <p:cNvPr id="18" name="Textplatzhalter 26">
            <a:extLst>
              <a:ext uri="{FF2B5EF4-FFF2-40B4-BE49-F238E27FC236}">
                <a16:creationId xmlns:a16="http://schemas.microsoft.com/office/drawing/2014/main" id="{7D441DA2-B29E-B9B7-5E4C-57A28F6EED4E}"/>
              </a:ext>
            </a:extLst>
          </p:cNvPr>
          <p:cNvSpPr txBox="1">
            <a:spLocks/>
          </p:cNvSpPr>
          <p:nvPr/>
        </p:nvSpPr>
        <p:spPr>
          <a:xfrm>
            <a:off x="1424622" y="3352950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BE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% (hm./hm.)</a:t>
            </a:r>
          </a:p>
        </p:txBody>
      </p:sp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F27B373B-1836-D440-69A1-283B8D0E83D6}"/>
              </a:ext>
            </a:extLst>
          </p:cNvPr>
          <p:cNvSpPr txBox="1">
            <a:spLocks/>
          </p:cNvSpPr>
          <p:nvPr/>
        </p:nvSpPr>
        <p:spPr>
          <a:xfrm>
            <a:off x="1424622" y="3890514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BE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% (w/w)</a:t>
            </a:r>
          </a:p>
        </p:txBody>
      </p:sp>
      <p:sp>
        <p:nvSpPr>
          <p:cNvPr id="20" name="Textplatzhalter 26">
            <a:extLst>
              <a:ext uri="{FF2B5EF4-FFF2-40B4-BE49-F238E27FC236}">
                <a16:creationId xmlns:a16="http://schemas.microsoft.com/office/drawing/2014/main" id="{3448221C-BE0D-BABE-3067-0A5758653C77}"/>
              </a:ext>
            </a:extLst>
          </p:cNvPr>
          <p:cNvSpPr txBox="1">
            <a:spLocks/>
          </p:cNvSpPr>
          <p:nvPr/>
        </p:nvSpPr>
        <p:spPr>
          <a:xfrm>
            <a:off x="8612142" y="3890514"/>
            <a:ext cx="2155236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% (v/v)</a:t>
            </a:r>
          </a:p>
        </p:txBody>
      </p:sp>
      <p:sp>
        <p:nvSpPr>
          <p:cNvPr id="21" name="Textplatzhalter 26">
            <a:extLst>
              <a:ext uri="{FF2B5EF4-FFF2-40B4-BE49-F238E27FC236}">
                <a16:creationId xmlns:a16="http://schemas.microsoft.com/office/drawing/2014/main" id="{6E1F42C9-4550-09B1-1720-37FAFD7E38B0}"/>
              </a:ext>
            </a:extLst>
          </p:cNvPr>
          <p:cNvSpPr txBox="1">
            <a:spLocks/>
          </p:cNvSpPr>
          <p:nvPr/>
        </p:nvSpPr>
        <p:spPr>
          <a:xfrm>
            <a:off x="8612141" y="4548011"/>
            <a:ext cx="2456453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50 ml + 50 ml &lt; 100 ml</a:t>
            </a:r>
          </a:p>
        </p:txBody>
      </p:sp>
      <p:sp>
        <p:nvSpPr>
          <p:cNvPr id="22" name="Textplatzhalter 26">
            <a:extLst>
              <a:ext uri="{FF2B5EF4-FFF2-40B4-BE49-F238E27FC236}">
                <a16:creationId xmlns:a16="http://schemas.microsoft.com/office/drawing/2014/main" id="{1067D0CB-AC1F-6C00-F2BD-A13B3DD4F0BF}"/>
              </a:ext>
            </a:extLst>
          </p:cNvPr>
          <p:cNvSpPr txBox="1">
            <a:spLocks/>
          </p:cNvSpPr>
          <p:nvPr/>
        </p:nvSpPr>
        <p:spPr>
          <a:xfrm>
            <a:off x="1288869" y="4548011"/>
            <a:ext cx="2290989" cy="493200"/>
          </a:xfrm>
          <a:prstGeom prst="roundRect">
            <a:avLst>
              <a:gd name="adj" fmla="val 50000"/>
            </a:avLst>
          </a:prstGeom>
          <a:solidFill>
            <a:srgbClr val="00BE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7800" indent="-3429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/>
              <a:t>50 g + 50 g = 100 g</a:t>
            </a:r>
          </a:p>
        </p:txBody>
      </p:sp>
      <p:pic>
        <p:nvPicPr>
          <p:cNvPr id="24" name="Obrázek 23">
            <a:extLst>
              <a:ext uri="{FF2B5EF4-FFF2-40B4-BE49-F238E27FC236}">
                <a16:creationId xmlns:a16="http://schemas.microsoft.com/office/drawing/2014/main" id="{5223A0A1-F365-A978-E315-9FA9995DF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9858" y="3328341"/>
            <a:ext cx="4958227" cy="1785273"/>
          </a:xfrm>
          <a:prstGeom prst="rect">
            <a:avLst/>
          </a:prstGeom>
        </p:spPr>
      </p:pic>
      <p:sp>
        <p:nvSpPr>
          <p:cNvPr id="25" name="Obdélník 24">
            <a:extLst>
              <a:ext uri="{FF2B5EF4-FFF2-40B4-BE49-F238E27FC236}">
                <a16:creationId xmlns:a16="http://schemas.microsoft.com/office/drawing/2014/main" id="{7CA2C168-8571-3885-14B7-6543E3205572}"/>
              </a:ext>
            </a:extLst>
          </p:cNvPr>
          <p:cNvSpPr/>
          <p:nvPr/>
        </p:nvSpPr>
        <p:spPr>
          <a:xfrm>
            <a:off x="817346" y="2134793"/>
            <a:ext cx="2796087" cy="3086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487E63C-9B06-06AF-3B50-01CF9BC3AA9D}"/>
              </a:ext>
            </a:extLst>
          </p:cNvPr>
          <p:cNvSpPr/>
          <p:nvPr/>
        </p:nvSpPr>
        <p:spPr>
          <a:xfrm>
            <a:off x="2224729" y="1383846"/>
            <a:ext cx="2796087" cy="17629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448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5" grpId="0" animBg="1"/>
      <p:bldP spid="2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C200F3CC-9E61-4CD2-418F-CC65F6D943D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461C384-D227-DB94-6921-600CAA152B8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FB81B01-F58B-4565-1902-C9055D3E02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4</a:t>
            </a:fld>
            <a:endParaRPr lang="de-DE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366B3B5F-FE95-BF3F-399B-CF7132027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338" y="404813"/>
            <a:ext cx="11363325" cy="564451"/>
          </a:xfrm>
        </p:spPr>
        <p:txBody>
          <a:bodyPr/>
          <a:lstStyle/>
          <a:p>
            <a:r>
              <a:rPr lang="cs-CZ" dirty="0"/>
              <a:t>Množství alkoholu v dezinfekčním přípravku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9ACE5F2-C8FC-6249-610E-2EACF5B2A6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341" y="1194620"/>
            <a:ext cx="6039320" cy="4875782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2C67C5C3-B58E-340B-F9B7-6B4368D1CCFA}"/>
              </a:ext>
            </a:extLst>
          </p:cNvPr>
          <p:cNvSpPr txBox="1"/>
          <p:nvPr/>
        </p:nvSpPr>
        <p:spPr>
          <a:xfrm>
            <a:off x="1014716" y="1328108"/>
            <a:ext cx="2328559" cy="3839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0000"/>
              </a:lnSpc>
              <a:buClr>
                <a:srgbClr val="0045FF"/>
              </a:buClr>
            </a:pPr>
            <a:r>
              <a:rPr lang="cs-CZ" dirty="0"/>
              <a:t>Koncentrace etanolu      v hmotnostních % (w/w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43CDD5AB-7A19-192B-0BE3-3C8562B4CDFC}"/>
              </a:ext>
            </a:extLst>
          </p:cNvPr>
          <p:cNvSpPr txBox="1"/>
          <p:nvPr/>
        </p:nvSpPr>
        <p:spPr>
          <a:xfrm>
            <a:off x="3919201" y="1328108"/>
            <a:ext cx="2227635" cy="3839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80000"/>
              </a:lnSpc>
              <a:buClr>
                <a:srgbClr val="0045FF"/>
              </a:buClr>
            </a:pPr>
            <a:r>
              <a:rPr lang="cs-CZ" dirty="0"/>
              <a:t>Koncentrace etanolu      v objemových % (v/v)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0D87CBA-226F-8028-834E-E3AC31C3C483}"/>
              </a:ext>
            </a:extLst>
          </p:cNvPr>
          <p:cNvSpPr txBox="1"/>
          <p:nvPr/>
        </p:nvSpPr>
        <p:spPr>
          <a:xfrm>
            <a:off x="865364" y="5746778"/>
            <a:ext cx="723608" cy="3839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80000"/>
              </a:lnSpc>
              <a:buClr>
                <a:srgbClr val="0045FF"/>
              </a:buClr>
            </a:pPr>
            <a:r>
              <a:rPr lang="cs-CZ" dirty="0"/>
              <a:t>Zdroj: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5BA36B47-CB2A-574F-21BD-F90C18D7805C}"/>
              </a:ext>
            </a:extLst>
          </p:cNvPr>
          <p:cNvSpPr/>
          <p:nvPr/>
        </p:nvSpPr>
        <p:spPr>
          <a:xfrm>
            <a:off x="938516" y="3739896"/>
            <a:ext cx="4100209" cy="283464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C3C18E2-DA7E-872A-E9FA-1EA55763A14A}"/>
              </a:ext>
            </a:extLst>
          </p:cNvPr>
          <p:cNvSpPr/>
          <p:nvPr/>
        </p:nvSpPr>
        <p:spPr>
          <a:xfrm>
            <a:off x="938515" y="4267766"/>
            <a:ext cx="4100209" cy="283464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28C86FE-EBBE-FEF2-2F28-4CB7FE00A66D}"/>
              </a:ext>
            </a:extLst>
          </p:cNvPr>
          <p:cNvSpPr txBox="1"/>
          <p:nvPr/>
        </p:nvSpPr>
        <p:spPr>
          <a:xfrm>
            <a:off x="8124825" y="2428875"/>
            <a:ext cx="3390900" cy="1466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sz="2400" dirty="0"/>
              <a:t>Je důležité věnovat pozornost tomu, jaký je skutečný obsah alkoholu v přípravku.</a:t>
            </a:r>
          </a:p>
        </p:txBody>
      </p:sp>
    </p:spTree>
    <p:extLst>
      <p:ext uri="{BB962C8B-B14F-4D97-AF65-F5344CB8AC3E}">
        <p14:creationId xmlns:p14="http://schemas.microsoft.com/office/powerpoint/2010/main" val="17235168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Zástupný symbol obrázku 15">
            <a:extLst>
              <a:ext uri="{FF2B5EF4-FFF2-40B4-BE49-F238E27FC236}">
                <a16:creationId xmlns:a16="http://schemas.microsoft.com/office/drawing/2014/main" id="{CF6748BB-9B2F-ECDB-2ED1-08B01B42883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/>
          <a:srcRect t="56" b="56"/>
          <a:stretch/>
        </p:blipFill>
        <p:spPr>
          <a:xfrm>
            <a:off x="9657965" y="1720733"/>
            <a:ext cx="1718319" cy="1718319"/>
          </a:xfrm>
        </p:spPr>
      </p:pic>
      <p:pic>
        <p:nvPicPr>
          <p:cNvPr id="3" name="Zástupný symbol obrázku 2">
            <a:extLst>
              <a:ext uri="{FF2B5EF4-FFF2-40B4-BE49-F238E27FC236}">
                <a16:creationId xmlns:a16="http://schemas.microsoft.com/office/drawing/2014/main" id="{6A2AAD5A-078F-D4EE-8A71-130F1B671B8A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/>
          <a:srcRect t="18068" b="18068"/>
          <a:stretch>
            <a:fillRect/>
          </a:stretch>
        </p:blipFill>
        <p:spPr>
          <a:xfrm>
            <a:off x="6770495" y="741823"/>
            <a:ext cx="1676166" cy="167616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883DFC53-40B1-1446-A079-6BBB09E70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454026"/>
          </a:xfrm>
        </p:spPr>
        <p:txBody>
          <a:bodyPr/>
          <a:lstStyle/>
          <a:p>
            <a:r>
              <a:rPr lang="cs-CZ" dirty="0"/>
              <a:t>Postup při testování přípravku podle EN 1500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3D106F0-B3F8-0444-BD0F-5BF26FA443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15</a:t>
            </a:fld>
            <a:endParaRPr lang="de-DE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9F47CA73-11D0-A944-80F9-D00F8F1090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36480" y="4703602"/>
            <a:ext cx="2049321" cy="830997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si uměle kontaminuje ruce zkušebními mikroorganizmy.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B75B11D-45CB-1F45-BC6B-9CB9B05DCA0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265166" y="4703602"/>
            <a:ext cx="2049321" cy="1107996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z konečků prstů po ponoření do kapaliny pro odběr vzorků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BA2A281-E293-9440-ADB4-200C3FA9874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216026" y="4703602"/>
            <a:ext cx="2049321" cy="830997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z konečků prstů po ponoření do kapaliny pro odběr vzorků.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6276565A-7DA2-9040-BAFF-3C574ECFC1C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 flipH="1">
            <a:off x="3103316" y="4113640"/>
            <a:ext cx="45719" cy="18680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C335FB2-8F63-F24D-BB9F-FA82877986D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flipH="1">
            <a:off x="6068171" y="4113640"/>
            <a:ext cx="45719" cy="186806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FCC18D5-644F-C240-8DE8-FACFC8B73EC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 flipH="1">
            <a:off x="9040226" y="4113640"/>
            <a:ext cx="45719" cy="1868060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3219AAC-77E1-0B48-AD6D-2CB8EC8C5CD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55366" y="1398207"/>
            <a:ext cx="921329" cy="548671"/>
          </a:xfrm>
          <a:solidFill>
            <a:srgbClr val="BFF5EC"/>
          </a:solidFill>
        </p:spPr>
        <p:txBody>
          <a:bodyPr/>
          <a:lstStyle/>
          <a:p>
            <a:r>
              <a:rPr lang="cs-CZ" dirty="0"/>
              <a:t>Test</a:t>
            </a:r>
            <a:endParaRPr lang="en-US" dirty="0"/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53F553A4-498C-AE4B-8BF1-A1A6B783294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6480" y="4334255"/>
            <a:ext cx="2049321" cy="341313"/>
          </a:xfrm>
        </p:spPr>
        <p:txBody>
          <a:bodyPr/>
          <a:lstStyle/>
          <a:p>
            <a:r>
              <a:rPr lang="cs-CZ" dirty="0"/>
              <a:t>18-22 dobrovolníků</a:t>
            </a:r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F71745FA-1507-EF49-84D8-21EFD0FE21F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261751" y="4334255"/>
            <a:ext cx="2049321" cy="341313"/>
          </a:xfrm>
        </p:spPr>
        <p:txBody>
          <a:bodyPr/>
          <a:lstStyle/>
          <a:p>
            <a:r>
              <a:rPr lang="cs-CZ" dirty="0"/>
              <a:t>Změření počtu KTJ</a:t>
            </a:r>
            <a:endParaRPr lang="en-US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83070F8C-2EF5-D244-B60C-1C2554443FA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229069" y="4334255"/>
            <a:ext cx="2049321" cy="341313"/>
          </a:xfrm>
        </p:spPr>
        <p:txBody>
          <a:bodyPr/>
          <a:lstStyle/>
          <a:p>
            <a:r>
              <a:rPr lang="cs-CZ" dirty="0"/>
              <a:t>Vtírání přípravků</a:t>
            </a:r>
            <a:endParaRPr lang="en-US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085F60EA-A943-1E49-B9B6-CE49E5FAAE32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196387" y="4334255"/>
            <a:ext cx="2049321" cy="341313"/>
          </a:xfrm>
        </p:spPr>
        <p:txBody>
          <a:bodyPr/>
          <a:lstStyle/>
          <a:p>
            <a:r>
              <a:rPr lang="cs-CZ" dirty="0"/>
              <a:t>Změření počtu KTJ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 descr="Láhev 1 l kulatá">
            <a:extLst>
              <a:ext uri="{FF2B5EF4-FFF2-40B4-BE49-F238E27FC236}">
                <a16:creationId xmlns:a16="http://schemas.microsoft.com/office/drawing/2014/main" id="{389C833E-0A22-ABCF-603E-5132B31345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5" t="7985" r="7486" b="32680"/>
          <a:stretch/>
        </p:blipFill>
        <p:spPr bwMode="auto">
          <a:xfrm>
            <a:off x="6746799" y="2590640"/>
            <a:ext cx="1676166" cy="1658277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5">
            <a:extLst>
              <a:ext uri="{FF2B5EF4-FFF2-40B4-BE49-F238E27FC236}">
                <a16:creationId xmlns:a16="http://schemas.microsoft.com/office/drawing/2014/main" id="{7EFA4E57-2833-3EE4-27C2-DB53FE31A7A0}"/>
              </a:ext>
            </a:extLst>
          </p:cNvPr>
          <p:cNvSpPr txBox="1">
            <a:spLocks/>
          </p:cNvSpPr>
          <p:nvPr/>
        </p:nvSpPr>
        <p:spPr>
          <a:xfrm>
            <a:off x="6505574" y="2879176"/>
            <a:ext cx="2370659" cy="871423"/>
          </a:xfrm>
          <a:prstGeom prst="ellipse">
            <a:avLst/>
          </a:prstGeom>
          <a:solidFill>
            <a:srgbClr val="BFF5EC"/>
          </a:solidFill>
        </p:spPr>
        <p:txBody>
          <a:bodyPr vert="horz" lIns="0" tIns="0" rIns="0" bIns="0" rtlCol="0" anchor="ctr">
            <a:noAutofit/>
          </a:bodyPr>
          <a:lstStyle>
            <a:lvl1pPr marL="1587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b="1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cs-CZ" dirty="0"/>
              <a:t>2-propanol</a:t>
            </a:r>
          </a:p>
          <a:p>
            <a:r>
              <a:rPr lang="cs-CZ" dirty="0"/>
              <a:t>60 %</a:t>
            </a:r>
            <a:endParaRPr lang="en-US" dirty="0"/>
          </a:p>
        </p:txBody>
      </p:sp>
      <p:pic>
        <p:nvPicPr>
          <p:cNvPr id="2054" name="Picture 6" descr="vypestujsisvojihavet | Jak dobře si ty ruce myješ? • mklife.cz">
            <a:extLst>
              <a:ext uri="{FF2B5EF4-FFF2-40B4-BE49-F238E27FC236}">
                <a16:creationId xmlns:a16="http://schemas.microsoft.com/office/drawing/2014/main" id="{ED8CDAD8-0689-EEC3-4FA7-1408BC515219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31" t="26405" r="31371" b="34886"/>
          <a:stretch/>
        </p:blipFill>
        <p:spPr bwMode="auto">
          <a:xfrm>
            <a:off x="3726884" y="1672542"/>
            <a:ext cx="1718319" cy="175402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Více než 20 000 ilustrací Skupina Lidí a Lidé zdarma - Pixabay">
            <a:extLst>
              <a:ext uri="{FF2B5EF4-FFF2-40B4-BE49-F238E27FC236}">
                <a16:creationId xmlns:a16="http://schemas.microsoft.com/office/drawing/2014/main" id="{56C6CB25-B228-D9A9-E6AE-C0345EF9F0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9" t="32249" r="63641" b="12315"/>
          <a:stretch/>
        </p:blipFill>
        <p:spPr bwMode="auto">
          <a:xfrm>
            <a:off x="733425" y="1564102"/>
            <a:ext cx="1844691" cy="185635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8BB19AAD-858A-BC8A-68F1-121214171EE6}"/>
              </a:ext>
            </a:extLst>
          </p:cNvPr>
          <p:cNvCxnSpPr>
            <a:cxnSpLocks/>
          </p:cNvCxnSpPr>
          <p:nvPr/>
        </p:nvCxnSpPr>
        <p:spPr>
          <a:xfrm flipV="1">
            <a:off x="6229069" y="1946878"/>
            <a:ext cx="517730" cy="43398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C556CAE5-DB60-C205-9E2A-BA9882A105E3}"/>
              </a:ext>
            </a:extLst>
          </p:cNvPr>
          <p:cNvCxnSpPr>
            <a:cxnSpLocks/>
          </p:cNvCxnSpPr>
          <p:nvPr/>
        </p:nvCxnSpPr>
        <p:spPr>
          <a:xfrm flipV="1">
            <a:off x="8534400" y="2718459"/>
            <a:ext cx="418959" cy="242901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3386AACE-C113-3B0C-4F92-0289A21ADC17}"/>
              </a:ext>
            </a:extLst>
          </p:cNvPr>
          <p:cNvCxnSpPr>
            <a:cxnSpLocks/>
          </p:cNvCxnSpPr>
          <p:nvPr/>
        </p:nvCxnSpPr>
        <p:spPr>
          <a:xfrm>
            <a:off x="6222366" y="2620047"/>
            <a:ext cx="517730" cy="341313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3FBD76D9-C159-9A30-33E7-8600ED25AE8C}"/>
              </a:ext>
            </a:extLst>
          </p:cNvPr>
          <p:cNvCxnSpPr>
            <a:cxnSpLocks/>
          </p:cNvCxnSpPr>
          <p:nvPr/>
        </p:nvCxnSpPr>
        <p:spPr>
          <a:xfrm>
            <a:off x="8470357" y="2047875"/>
            <a:ext cx="483002" cy="329829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29">
            <a:extLst>
              <a:ext uri="{FF2B5EF4-FFF2-40B4-BE49-F238E27FC236}">
                <a16:creationId xmlns:a16="http://schemas.microsoft.com/office/drawing/2014/main" id="{D24D075E-1021-B25B-B42F-C35B02417D5B}"/>
              </a:ext>
            </a:extLst>
          </p:cNvPr>
          <p:cNvSpPr txBox="1">
            <a:spLocks/>
          </p:cNvSpPr>
          <p:nvPr/>
        </p:nvSpPr>
        <p:spPr>
          <a:xfrm>
            <a:off x="6240598" y="4703602"/>
            <a:ext cx="2799628" cy="83099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85750" indent="-28575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8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5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9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6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30000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/>
              <a:t>ve zkříženém designu:</a:t>
            </a:r>
          </a:p>
          <a:p>
            <a:r>
              <a:rPr lang="cs-CZ" b="1"/>
              <a:t>referenčním přípravkem</a:t>
            </a:r>
          </a:p>
          <a:p>
            <a:r>
              <a:rPr lang="cs-CZ" b="1">
                <a:solidFill>
                  <a:srgbClr val="0045FF"/>
                </a:solidFill>
              </a:rPr>
              <a:t>testovaným přípravkem</a:t>
            </a:r>
            <a:endParaRPr lang="en-US" b="1" dirty="0">
              <a:solidFill>
                <a:srgbClr val="0045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2877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Zástupný symbol obrázku 15">
            <a:extLst>
              <a:ext uri="{FF2B5EF4-FFF2-40B4-BE49-F238E27FC236}">
                <a16:creationId xmlns:a16="http://schemas.microsoft.com/office/drawing/2014/main" id="{CF6748BB-9B2F-ECDB-2ED1-08B01B42883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/>
          <a:srcRect t="56" b="56"/>
          <a:stretch/>
        </p:blipFill>
        <p:spPr>
          <a:xfrm>
            <a:off x="9657965" y="1720733"/>
            <a:ext cx="1718319" cy="1718319"/>
          </a:xfrm>
        </p:spPr>
      </p:pic>
      <p:pic>
        <p:nvPicPr>
          <p:cNvPr id="3" name="Zástupný symbol obrázku 2">
            <a:extLst>
              <a:ext uri="{FF2B5EF4-FFF2-40B4-BE49-F238E27FC236}">
                <a16:creationId xmlns:a16="http://schemas.microsoft.com/office/drawing/2014/main" id="{6A2AAD5A-078F-D4EE-8A71-130F1B671B8A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/>
          <a:srcRect t="18068" b="18068"/>
          <a:stretch>
            <a:fillRect/>
          </a:stretch>
        </p:blipFill>
        <p:spPr>
          <a:xfrm>
            <a:off x="6835658" y="2590917"/>
            <a:ext cx="1676166" cy="167616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883DFC53-40B1-1446-A079-6BBB09E70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454026"/>
          </a:xfrm>
        </p:spPr>
        <p:txBody>
          <a:bodyPr/>
          <a:lstStyle/>
          <a:p>
            <a:r>
              <a:rPr lang="cs-CZ" dirty="0"/>
              <a:t>Postup při testování přípravku podle EN 1500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3D106F0-B3F8-0444-BD0F-5BF26FA443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16</a:t>
            </a:fld>
            <a:endParaRPr lang="de-DE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9F47CA73-11D0-A944-80F9-D00F8F1090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36480" y="4703602"/>
            <a:ext cx="2049321" cy="830997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si uměle kontaminuje ruce zkušebními mikroorganizmy.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B75B11D-45CB-1F45-BC6B-9CB9B05DCA0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265166" y="4703602"/>
            <a:ext cx="2049321" cy="1107996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z konečků prstů po ponoření do kapaliny pro odběr vzorků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E0C214C3-E43D-5A40-9C33-5A96B8DE16A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40598" y="4703602"/>
            <a:ext cx="2799628" cy="830997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ve zkříženém designu:</a:t>
            </a:r>
          </a:p>
          <a:p>
            <a:r>
              <a:rPr lang="cs-CZ" b="1" dirty="0"/>
              <a:t>referenčním přípravkem</a:t>
            </a:r>
          </a:p>
          <a:p>
            <a:r>
              <a:rPr lang="cs-CZ" b="1" dirty="0">
                <a:solidFill>
                  <a:srgbClr val="0045FF"/>
                </a:solidFill>
              </a:rPr>
              <a:t>testovaným přípravkem</a:t>
            </a:r>
            <a:endParaRPr lang="en-US" b="1" dirty="0">
              <a:solidFill>
                <a:srgbClr val="0045FF"/>
              </a:solidFill>
            </a:endParaRP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BA2A281-E293-9440-ADB4-200C3FA9874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216026" y="4703602"/>
            <a:ext cx="2049321" cy="830997"/>
          </a:xfrm>
        </p:spPr>
        <p:txBody>
          <a:bodyPr/>
          <a:lstStyle/>
          <a:p>
            <a:pPr marL="0" indent="0">
              <a:buNone/>
            </a:pPr>
            <a:r>
              <a:rPr lang="cs-CZ" dirty="0"/>
              <a:t>z konečků prstů po ponoření do kapaliny pro odběr vzorků</a:t>
            </a:r>
            <a:endParaRPr lang="en-US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6276565A-7DA2-9040-BAFF-3C574ECFC1C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 flipH="1">
            <a:off x="3103316" y="4113640"/>
            <a:ext cx="45719" cy="186806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C335FB2-8F63-F24D-BB9F-FA82877986D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 flipH="1">
            <a:off x="6068171" y="4113640"/>
            <a:ext cx="45719" cy="186806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FCC18D5-644F-C240-8DE8-FACFC8B73EC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 flipH="1">
            <a:off x="9040226" y="4113640"/>
            <a:ext cx="45719" cy="1868060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3219AAC-77E1-0B48-AD6D-2CB8EC8C5CD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220529" y="3247301"/>
            <a:ext cx="921329" cy="548671"/>
          </a:xfrm>
          <a:solidFill>
            <a:srgbClr val="BFF5EC"/>
          </a:solidFill>
        </p:spPr>
        <p:txBody>
          <a:bodyPr/>
          <a:lstStyle/>
          <a:p>
            <a:r>
              <a:rPr lang="cs-CZ" dirty="0"/>
              <a:t>Test</a:t>
            </a:r>
            <a:endParaRPr lang="en-US" dirty="0"/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53F553A4-498C-AE4B-8BF1-A1A6B783294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6480" y="4334255"/>
            <a:ext cx="2049321" cy="341313"/>
          </a:xfrm>
        </p:spPr>
        <p:txBody>
          <a:bodyPr/>
          <a:lstStyle/>
          <a:p>
            <a:r>
              <a:rPr lang="cs-CZ" dirty="0"/>
              <a:t>18-22 dobrovolníků</a:t>
            </a:r>
            <a:endParaRPr lang="en-US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F71745FA-1507-EF49-84D8-21EFD0FE21F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261751" y="4334255"/>
            <a:ext cx="2049321" cy="341313"/>
          </a:xfrm>
        </p:spPr>
        <p:txBody>
          <a:bodyPr/>
          <a:lstStyle/>
          <a:p>
            <a:r>
              <a:rPr lang="cs-CZ" dirty="0"/>
              <a:t>Změření počtu KTJ</a:t>
            </a:r>
            <a:endParaRPr lang="en-US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83070F8C-2EF5-D244-B60C-1C2554443FA7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229069" y="4334255"/>
            <a:ext cx="2049321" cy="341313"/>
          </a:xfrm>
        </p:spPr>
        <p:txBody>
          <a:bodyPr/>
          <a:lstStyle/>
          <a:p>
            <a:r>
              <a:rPr lang="cs-CZ" dirty="0"/>
              <a:t>Vtírání přípravků</a:t>
            </a:r>
            <a:endParaRPr lang="en-US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085F60EA-A943-1E49-B9B6-CE49E5FAAE32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196387" y="4334255"/>
            <a:ext cx="2049321" cy="341313"/>
          </a:xfrm>
        </p:spPr>
        <p:txBody>
          <a:bodyPr/>
          <a:lstStyle/>
          <a:p>
            <a:r>
              <a:rPr lang="cs-CZ" dirty="0"/>
              <a:t>Změření počtu KTJ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 descr="Láhev 1 l kulatá">
            <a:extLst>
              <a:ext uri="{FF2B5EF4-FFF2-40B4-BE49-F238E27FC236}">
                <a16:creationId xmlns:a16="http://schemas.microsoft.com/office/drawing/2014/main" id="{389C833E-0A22-ABCF-603E-5132B31345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5" t="7985" r="7486" b="32680"/>
          <a:stretch/>
        </p:blipFill>
        <p:spPr bwMode="auto">
          <a:xfrm>
            <a:off x="6790878" y="842175"/>
            <a:ext cx="1676166" cy="1658277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35">
            <a:extLst>
              <a:ext uri="{FF2B5EF4-FFF2-40B4-BE49-F238E27FC236}">
                <a16:creationId xmlns:a16="http://schemas.microsoft.com/office/drawing/2014/main" id="{7EFA4E57-2833-3EE4-27C2-DB53FE31A7A0}"/>
              </a:ext>
            </a:extLst>
          </p:cNvPr>
          <p:cNvSpPr txBox="1">
            <a:spLocks/>
          </p:cNvSpPr>
          <p:nvPr/>
        </p:nvSpPr>
        <p:spPr>
          <a:xfrm>
            <a:off x="6549653" y="1130711"/>
            <a:ext cx="2370659" cy="871423"/>
          </a:xfrm>
          <a:prstGeom prst="ellipse">
            <a:avLst/>
          </a:prstGeom>
          <a:solidFill>
            <a:srgbClr val="BFF5EC"/>
          </a:solidFill>
        </p:spPr>
        <p:txBody>
          <a:bodyPr vert="horz" lIns="0" tIns="0" rIns="0" bIns="0" rtlCol="0" anchor="ctr">
            <a:noAutofit/>
          </a:bodyPr>
          <a:lstStyle>
            <a:lvl1pPr marL="1587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b="1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cs-CZ" dirty="0"/>
              <a:t>2-propanol</a:t>
            </a:r>
          </a:p>
          <a:p>
            <a:r>
              <a:rPr lang="cs-CZ" dirty="0"/>
              <a:t>60 %</a:t>
            </a:r>
            <a:endParaRPr lang="en-US" dirty="0"/>
          </a:p>
        </p:txBody>
      </p:sp>
      <p:pic>
        <p:nvPicPr>
          <p:cNvPr id="2054" name="Picture 6" descr="vypestujsisvojihavet | Jak dobře si ty ruce myješ? • mklife.cz">
            <a:extLst>
              <a:ext uri="{FF2B5EF4-FFF2-40B4-BE49-F238E27FC236}">
                <a16:creationId xmlns:a16="http://schemas.microsoft.com/office/drawing/2014/main" id="{ED8CDAD8-0689-EEC3-4FA7-1408BC515219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31" t="26405" r="31371" b="34886"/>
          <a:stretch/>
        </p:blipFill>
        <p:spPr bwMode="auto">
          <a:xfrm>
            <a:off x="3726884" y="1672542"/>
            <a:ext cx="1718319" cy="175402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Více než 20 000 ilustrací Skupina Lidí a Lidé zdarma - Pixabay">
            <a:extLst>
              <a:ext uri="{FF2B5EF4-FFF2-40B4-BE49-F238E27FC236}">
                <a16:creationId xmlns:a16="http://schemas.microsoft.com/office/drawing/2014/main" id="{56C6CB25-B228-D9A9-E6AE-C0345EF9F0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9" t="32249" r="63641" b="12315"/>
          <a:stretch/>
        </p:blipFill>
        <p:spPr bwMode="auto">
          <a:xfrm>
            <a:off x="733425" y="1564102"/>
            <a:ext cx="1844691" cy="185635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8BB19AAD-858A-BC8A-68F1-121214171EE6}"/>
              </a:ext>
            </a:extLst>
          </p:cNvPr>
          <p:cNvCxnSpPr>
            <a:cxnSpLocks/>
          </p:cNvCxnSpPr>
          <p:nvPr/>
        </p:nvCxnSpPr>
        <p:spPr>
          <a:xfrm flipV="1">
            <a:off x="6229069" y="1946878"/>
            <a:ext cx="517730" cy="43398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C556CAE5-DB60-C205-9E2A-BA9882A105E3}"/>
              </a:ext>
            </a:extLst>
          </p:cNvPr>
          <p:cNvCxnSpPr>
            <a:cxnSpLocks/>
          </p:cNvCxnSpPr>
          <p:nvPr/>
        </p:nvCxnSpPr>
        <p:spPr>
          <a:xfrm flipV="1">
            <a:off x="8534400" y="2718459"/>
            <a:ext cx="418959" cy="242901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3386AACE-C113-3B0C-4F92-0289A21ADC17}"/>
              </a:ext>
            </a:extLst>
          </p:cNvPr>
          <p:cNvCxnSpPr>
            <a:cxnSpLocks/>
          </p:cNvCxnSpPr>
          <p:nvPr/>
        </p:nvCxnSpPr>
        <p:spPr>
          <a:xfrm>
            <a:off x="6222366" y="2620047"/>
            <a:ext cx="517730" cy="341313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Přímá spojnice se šipkou 51">
            <a:extLst>
              <a:ext uri="{FF2B5EF4-FFF2-40B4-BE49-F238E27FC236}">
                <a16:creationId xmlns:a16="http://schemas.microsoft.com/office/drawing/2014/main" id="{3FBD76D9-C159-9A30-33E7-8600ED25AE8C}"/>
              </a:ext>
            </a:extLst>
          </p:cNvPr>
          <p:cNvCxnSpPr>
            <a:cxnSpLocks/>
          </p:cNvCxnSpPr>
          <p:nvPr/>
        </p:nvCxnSpPr>
        <p:spPr>
          <a:xfrm>
            <a:off x="8470357" y="2047875"/>
            <a:ext cx="483002" cy="329829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84937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32A4429-677D-6951-214F-5D0E0A807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CABC326-28EF-3E1E-0A7E-504A9EF07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7A68CB15-2F95-B760-0E27-63F05995B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7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87CBF5D-CCA3-1A73-87BE-679F3DC46652}"/>
              </a:ext>
            </a:extLst>
          </p:cNvPr>
          <p:cNvSpPr txBox="1">
            <a:spLocks/>
          </p:cNvSpPr>
          <p:nvPr/>
        </p:nvSpPr>
        <p:spPr>
          <a:xfrm>
            <a:off x="414969" y="404813"/>
            <a:ext cx="11362062" cy="45402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700" b="1" kern="120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cs-CZ"/>
              <a:t>Postup při testování přípravku podle EN 1500</a:t>
            </a:r>
            <a:endParaRPr lang="en-US" dirty="0"/>
          </a:p>
        </p:txBody>
      </p:sp>
      <p:pic>
        <p:nvPicPr>
          <p:cNvPr id="7" name="Zástupný symbol obrázku 2">
            <a:extLst>
              <a:ext uri="{FF2B5EF4-FFF2-40B4-BE49-F238E27FC236}">
                <a16:creationId xmlns:a16="http://schemas.microsoft.com/office/drawing/2014/main" id="{08364F04-0D37-6A8B-D52D-293FBF9B52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8068" b="18068"/>
          <a:stretch>
            <a:fillRect/>
          </a:stretch>
        </p:blipFill>
        <p:spPr>
          <a:xfrm>
            <a:off x="6782318" y="2790366"/>
            <a:ext cx="1676166" cy="167616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2" descr="Láhev 1 l kulatá">
            <a:extLst>
              <a:ext uri="{FF2B5EF4-FFF2-40B4-BE49-F238E27FC236}">
                <a16:creationId xmlns:a16="http://schemas.microsoft.com/office/drawing/2014/main" id="{5E980799-BBAB-CDE5-979D-435EF46D36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5" t="7985" r="7486" b="32680"/>
          <a:stretch/>
        </p:blipFill>
        <p:spPr bwMode="auto">
          <a:xfrm>
            <a:off x="3222813" y="2808255"/>
            <a:ext cx="1676166" cy="1658277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35">
            <a:extLst>
              <a:ext uri="{FF2B5EF4-FFF2-40B4-BE49-F238E27FC236}">
                <a16:creationId xmlns:a16="http://schemas.microsoft.com/office/drawing/2014/main" id="{B294FAEB-F94A-6010-E898-A41A094A1605}"/>
              </a:ext>
            </a:extLst>
          </p:cNvPr>
          <p:cNvSpPr txBox="1">
            <a:spLocks/>
          </p:cNvSpPr>
          <p:nvPr/>
        </p:nvSpPr>
        <p:spPr>
          <a:xfrm>
            <a:off x="2981588" y="3096791"/>
            <a:ext cx="2370659" cy="871423"/>
          </a:xfrm>
          <a:prstGeom prst="ellipse">
            <a:avLst/>
          </a:prstGeom>
          <a:solidFill>
            <a:srgbClr val="BFF5EC"/>
          </a:solidFill>
        </p:spPr>
        <p:txBody>
          <a:bodyPr vert="horz" lIns="0" tIns="0" rIns="0" bIns="0" rtlCol="0" anchor="ctr">
            <a:noAutofit/>
          </a:bodyPr>
          <a:lstStyle>
            <a:lvl1pPr marL="1587" indent="0" algn="ctr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800" b="1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cs-CZ" dirty="0"/>
              <a:t>2-propanol</a:t>
            </a:r>
          </a:p>
          <a:p>
            <a:r>
              <a:rPr lang="cs-CZ" dirty="0"/>
              <a:t>60 %</a:t>
            </a:r>
            <a:endParaRPr lang="en-US" dirty="0"/>
          </a:p>
        </p:txBody>
      </p:sp>
      <p:sp>
        <p:nvSpPr>
          <p:cNvPr id="11" name="Textplatzhalter 35">
            <a:extLst>
              <a:ext uri="{FF2B5EF4-FFF2-40B4-BE49-F238E27FC236}">
                <a16:creationId xmlns:a16="http://schemas.microsoft.com/office/drawing/2014/main" id="{3C0179A1-78AF-CB07-880E-1D93FA9220F6}"/>
              </a:ext>
            </a:extLst>
          </p:cNvPr>
          <p:cNvSpPr txBox="1">
            <a:spLocks/>
          </p:cNvSpPr>
          <p:nvPr/>
        </p:nvSpPr>
        <p:spPr>
          <a:xfrm>
            <a:off x="6920313" y="3354113"/>
            <a:ext cx="1400175" cy="548671"/>
          </a:xfrm>
          <a:prstGeom prst="ellipse">
            <a:avLst/>
          </a:prstGeom>
          <a:solidFill>
            <a:srgbClr val="BFF5EC"/>
          </a:solidFill>
        </p:spPr>
        <p:txBody>
          <a:bodyPr anchor="ctr"/>
          <a:lstStyle>
            <a:lvl1pPr marL="266700" indent="-265113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1587" indent="0" algn="ctr">
              <a:buNone/>
            </a:pPr>
            <a:r>
              <a:rPr lang="cs-CZ" sz="2800" b="1" dirty="0">
                <a:solidFill>
                  <a:srgbClr val="0045FF"/>
                </a:solidFill>
              </a:rPr>
              <a:t>Test</a:t>
            </a:r>
            <a:endParaRPr lang="en-US" sz="2800" b="1" dirty="0">
              <a:solidFill>
                <a:srgbClr val="0045FF"/>
              </a:solidFill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2F8B0EC4-7F03-ADE9-777B-B63EB4D984F4}"/>
              </a:ext>
            </a:extLst>
          </p:cNvPr>
          <p:cNvSpPr txBox="1"/>
          <p:nvPr/>
        </p:nvSpPr>
        <p:spPr>
          <a:xfrm>
            <a:off x="2672035" y="4793908"/>
            <a:ext cx="29897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b="1" dirty="0"/>
              <a:t>Reference (2-propanol 60%): 2x 3 ml  - 2x 30 s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DD18EC4-72F5-C87D-76A2-D8BC8D93A2C6}"/>
              </a:ext>
            </a:extLst>
          </p:cNvPr>
          <p:cNvSpPr txBox="1"/>
          <p:nvPr/>
        </p:nvSpPr>
        <p:spPr>
          <a:xfrm>
            <a:off x="6920313" y="4793908"/>
            <a:ext cx="204035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Test: dle výrobce</a:t>
            </a:r>
          </a:p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  3 ml</a:t>
            </a:r>
          </a:p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  4 ml</a:t>
            </a:r>
          </a:p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  5 ml</a:t>
            </a:r>
          </a:p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  6 ml</a:t>
            </a:r>
            <a:endParaRPr lang="en-US" b="1" dirty="0">
              <a:solidFill>
                <a:srgbClr val="0045FF"/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B85343E-D6B1-B90A-BCCC-BB1760C38F7E}"/>
              </a:ext>
            </a:extLst>
          </p:cNvPr>
          <p:cNvSpPr txBox="1"/>
          <p:nvPr/>
        </p:nvSpPr>
        <p:spPr>
          <a:xfrm>
            <a:off x="7940490" y="5210541"/>
            <a:ext cx="815910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30 s</a:t>
            </a:r>
          </a:p>
          <a:p>
            <a:pPr marL="0" indent="0">
              <a:buNone/>
            </a:pPr>
            <a:endParaRPr lang="cs-CZ" sz="1050" b="1" dirty="0">
              <a:solidFill>
                <a:srgbClr val="0045FF"/>
              </a:solidFill>
            </a:endParaRPr>
          </a:p>
          <a:p>
            <a:pPr marL="0" indent="0">
              <a:buNone/>
            </a:pPr>
            <a:r>
              <a:rPr lang="cs-CZ" b="1" dirty="0">
                <a:solidFill>
                  <a:srgbClr val="0045FF"/>
                </a:solidFill>
              </a:rPr>
              <a:t>1 min</a:t>
            </a:r>
            <a:endParaRPr lang="en-US" b="1" dirty="0">
              <a:solidFill>
                <a:srgbClr val="0045FF"/>
              </a:solidFill>
            </a:endParaRPr>
          </a:p>
        </p:txBody>
      </p:sp>
      <p:sp>
        <p:nvSpPr>
          <p:cNvPr id="17" name="Textplatzhalter 38">
            <a:extLst>
              <a:ext uri="{FF2B5EF4-FFF2-40B4-BE49-F238E27FC236}">
                <a16:creationId xmlns:a16="http://schemas.microsoft.com/office/drawing/2014/main" id="{F395427B-2D7B-638B-D038-D1C6446B74C4}"/>
              </a:ext>
            </a:extLst>
          </p:cNvPr>
          <p:cNvSpPr txBox="1">
            <a:spLocks/>
          </p:cNvSpPr>
          <p:nvPr/>
        </p:nvSpPr>
        <p:spPr>
          <a:xfrm>
            <a:off x="1168902" y="1290021"/>
            <a:ext cx="8985792" cy="341313"/>
          </a:xfrm>
          <a:prstGeom prst="rect">
            <a:avLst/>
          </a:prstGeom>
        </p:spPr>
        <p:txBody>
          <a:bodyPr/>
          <a:lstStyle>
            <a:lvl1pPr marL="266700" indent="-265113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1587" indent="0">
              <a:buNone/>
            </a:pPr>
            <a:r>
              <a:rPr lang="cs-CZ" sz="2000" dirty="0"/>
              <a:t>Přípravek je </a:t>
            </a:r>
            <a:r>
              <a:rPr lang="cs-CZ" sz="2000" b="1" dirty="0"/>
              <a:t>úspěšně otestován podle EN 1500</a:t>
            </a:r>
            <a:r>
              <a:rPr lang="cs-CZ" sz="2000" dirty="0"/>
              <a:t>, pokud průměrná redukce zkušebních mikroorganizmů u testovaného přípravku </a:t>
            </a:r>
            <a:r>
              <a:rPr lang="cs-CZ" sz="2000" b="1" dirty="0"/>
              <a:t>není horší </a:t>
            </a:r>
            <a:r>
              <a:rPr lang="cs-CZ" sz="2000" dirty="0"/>
              <a:t>než u referenčního přípravku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89794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/>
      <p:bldP spid="15" grpId="0"/>
      <p:bldP spid="1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514076"/>
          </a:xfrm>
        </p:spPr>
        <p:txBody>
          <a:bodyPr/>
          <a:lstStyle/>
          <a:p>
            <a:r>
              <a:rPr lang="cs-CZ" dirty="0"/>
              <a:t>Hygienická dezinfekce rukou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8</a:t>
            </a:fld>
            <a:endParaRPr lang="de-DE"/>
          </a:p>
        </p:txBody>
      </p:sp>
      <p:sp>
        <p:nvSpPr>
          <p:cNvPr id="2" name="Textfeld 7">
            <a:extLst>
              <a:ext uri="{FF2B5EF4-FFF2-40B4-BE49-F238E27FC236}">
                <a16:creationId xmlns:a16="http://schemas.microsoft.com/office/drawing/2014/main" id="{DBF8F541-2B28-D505-7A2E-08867BFC0805}"/>
              </a:ext>
            </a:extLst>
          </p:cNvPr>
          <p:cNvSpPr txBox="1"/>
          <p:nvPr/>
        </p:nvSpPr>
        <p:spPr>
          <a:xfrm>
            <a:off x="588668" y="1513222"/>
            <a:ext cx="10498432" cy="1068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2800" dirty="0"/>
              <a:t>Jak poznat, jaké množství přípravku použil a jakou expoziční dobou nastavil výrobce při testování podle EN 1500?</a:t>
            </a:r>
            <a:endParaRPr lang="de-DE" sz="2800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baseline="30000" dirty="0"/>
          </a:p>
          <a:p>
            <a:pPr algn="l">
              <a:buClr>
                <a:srgbClr val="0045FF"/>
              </a:buClr>
            </a:pPr>
            <a:r>
              <a:rPr lang="de-DE" sz="2800" dirty="0"/>
              <a:t>  </a:t>
            </a:r>
          </a:p>
        </p:txBody>
      </p:sp>
      <p:pic>
        <p:nvPicPr>
          <p:cNvPr id="3074" name="Picture 2" descr="Návod k použití v českém jazyce">
            <a:extLst>
              <a:ext uri="{FF2B5EF4-FFF2-40B4-BE49-F238E27FC236}">
                <a16:creationId xmlns:a16="http://schemas.microsoft.com/office/drawing/2014/main" id="{FD3E2E83-0D6D-0343-85CF-9804A4936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5640" y="2644956"/>
            <a:ext cx="278130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7">
            <a:extLst>
              <a:ext uri="{FF2B5EF4-FFF2-40B4-BE49-F238E27FC236}">
                <a16:creationId xmlns:a16="http://schemas.microsoft.com/office/drawing/2014/main" id="{5EB6A6A8-5BBA-BBE7-21FB-1509868D027D}"/>
              </a:ext>
            </a:extLst>
          </p:cNvPr>
          <p:cNvSpPr txBox="1"/>
          <p:nvPr/>
        </p:nvSpPr>
        <p:spPr>
          <a:xfrm>
            <a:off x="344828" y="3984551"/>
            <a:ext cx="10498432" cy="5140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2800" dirty="0"/>
              <a:t>Návod k použití!</a:t>
            </a:r>
            <a:endParaRPr lang="de-DE" sz="2800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baseline="30000" dirty="0"/>
          </a:p>
          <a:p>
            <a:pPr algn="l">
              <a:buClr>
                <a:srgbClr val="0045FF"/>
              </a:buClr>
            </a:pPr>
            <a:r>
              <a:rPr lang="de-DE" sz="2800" dirty="0"/>
              <a:t> 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208563C-6218-DE95-2985-120859DCC360}"/>
              </a:ext>
            </a:extLst>
          </p:cNvPr>
          <p:cNvSpPr txBox="1"/>
          <p:nvPr/>
        </p:nvSpPr>
        <p:spPr>
          <a:xfrm>
            <a:off x="986828" y="4706138"/>
            <a:ext cx="10498432" cy="5140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buClr>
                <a:srgbClr val="0045FF"/>
              </a:buClr>
            </a:pPr>
            <a:r>
              <a:rPr lang="cs-CZ" sz="2400" dirty="0">
                <a:solidFill>
                  <a:srgbClr val="FF2954"/>
                </a:solidFill>
              </a:rPr>
              <a:t>Co je návodem k použití? </a:t>
            </a:r>
          </a:p>
          <a:p>
            <a:pPr>
              <a:buClr>
                <a:srgbClr val="0045FF"/>
              </a:buClr>
            </a:pPr>
            <a:r>
              <a:rPr lang="cs-CZ" sz="2400" dirty="0">
                <a:solidFill>
                  <a:srgbClr val="FF2954"/>
                </a:solidFill>
              </a:rPr>
              <a:t>Produktová informace/leták, etiketa, technický list, …?</a:t>
            </a:r>
            <a:endParaRPr lang="de-DE" sz="2400" dirty="0">
              <a:solidFill>
                <a:srgbClr val="FF2954"/>
              </a:solidFill>
            </a:endParaRPr>
          </a:p>
        </p:txBody>
      </p:sp>
      <p:pic>
        <p:nvPicPr>
          <p:cNvPr id="7" name="Graphic 56">
            <a:extLst>
              <a:ext uri="{FF2B5EF4-FFF2-40B4-BE49-F238E27FC236}">
                <a16:creationId xmlns:a16="http://schemas.microsoft.com/office/drawing/2014/main" id="{FF650FC5-58CB-9085-BFE8-297D128DC0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2779" y="4960070"/>
            <a:ext cx="1635105" cy="68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429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514076"/>
          </a:xfrm>
        </p:spPr>
        <p:txBody>
          <a:bodyPr/>
          <a:lstStyle/>
          <a:p>
            <a:r>
              <a:rPr lang="cs-CZ" dirty="0"/>
              <a:t>Hygienická dezinfekce rukou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19</a:t>
            </a:fld>
            <a:endParaRPr lang="de-DE"/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F9118356-5943-84EB-6478-3A82C870F2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1528" y="1254034"/>
            <a:ext cx="4793118" cy="4955312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8BC3D8AE-2A21-B73F-D293-F37AACAC54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3706" y="2129623"/>
            <a:ext cx="9039497" cy="631999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27C4E876-87E4-71E4-AC36-8721C39EA5C5}"/>
              </a:ext>
            </a:extLst>
          </p:cNvPr>
          <p:cNvSpPr/>
          <p:nvPr/>
        </p:nvSpPr>
        <p:spPr>
          <a:xfrm>
            <a:off x="2290354" y="2142309"/>
            <a:ext cx="8220892" cy="304800"/>
          </a:xfrm>
          <a:prstGeom prst="rect">
            <a:avLst/>
          </a:prstGeom>
          <a:solidFill>
            <a:srgbClr val="FEDE0F">
              <a:alpha val="3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4AA8FDDE-0D86-616E-0C06-46F829AA5C43}"/>
              </a:ext>
            </a:extLst>
          </p:cNvPr>
          <p:cNvSpPr/>
          <p:nvPr/>
        </p:nvSpPr>
        <p:spPr>
          <a:xfrm>
            <a:off x="1573706" y="2456822"/>
            <a:ext cx="716648" cy="304800"/>
          </a:xfrm>
          <a:prstGeom prst="rect">
            <a:avLst/>
          </a:prstGeom>
          <a:solidFill>
            <a:srgbClr val="FEDE0F">
              <a:alpha val="3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03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2FFBD17-132F-B842-9523-A311F4D009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60000" y="2599200"/>
            <a:ext cx="7605326" cy="2268000"/>
          </a:xfrm>
        </p:spPr>
        <p:txBody>
          <a:bodyPr/>
          <a:lstStyle/>
          <a:p>
            <a:r>
              <a:rPr lang="cs-CZ" dirty="0"/>
              <a:t>Množství provedených dezinfekcí rukou</a:t>
            </a:r>
            <a:endParaRPr lang="en-US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C7FA320-34C7-3147-A9B4-F7C6FA7491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616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49BE853-C02E-7CBB-AF53-9C5ED0F4D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ygienická dezinfekce rukou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CBE0B47-DA65-E822-46FF-5E11A4ABF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BCDEF5A-B16D-7DF1-7204-0F7692473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D6EE162-E586-E81D-D37C-7D9134D5F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0</a:t>
            </a:fld>
            <a:endParaRPr lang="de-DE" dirty="0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87F37C42-8DAB-F41E-E2E2-89D34F611571}"/>
              </a:ext>
            </a:extLst>
          </p:cNvPr>
          <p:cNvGrpSpPr/>
          <p:nvPr/>
        </p:nvGrpSpPr>
        <p:grpSpPr>
          <a:xfrm>
            <a:off x="2943788" y="1829707"/>
            <a:ext cx="5572903" cy="1238423"/>
            <a:chOff x="3309548" y="3109868"/>
            <a:chExt cx="5572903" cy="1238423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A2270422-824A-828B-FD97-F54B3A5B9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09548" y="3109868"/>
              <a:ext cx="5572903" cy="638264"/>
            </a:xfrm>
            <a:prstGeom prst="rect">
              <a:avLst/>
            </a:prstGeom>
          </p:spPr>
        </p:pic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8BCB70E3-BE83-CFC4-8650-FBB141DCD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81259" y="3748132"/>
              <a:ext cx="3429479" cy="600159"/>
            </a:xfrm>
            <a:prstGeom prst="rect">
              <a:avLst/>
            </a:prstGeom>
          </p:spPr>
        </p:pic>
      </p:grpSp>
      <p:sp>
        <p:nvSpPr>
          <p:cNvPr id="11" name="Textfeld 7">
            <a:extLst>
              <a:ext uri="{FF2B5EF4-FFF2-40B4-BE49-F238E27FC236}">
                <a16:creationId xmlns:a16="http://schemas.microsoft.com/office/drawing/2014/main" id="{0F2B3FDC-03FD-DEEB-3126-8A3508C6AF72}"/>
              </a:ext>
            </a:extLst>
          </p:cNvPr>
          <p:cNvSpPr txBox="1"/>
          <p:nvPr/>
        </p:nvSpPr>
        <p:spPr>
          <a:xfrm>
            <a:off x="728006" y="3629094"/>
            <a:ext cx="10498432" cy="1068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2800" dirty="0"/>
              <a:t>Jak poznat, jaké množství přípravku použil a jakou expoziční dobou nastavil výrobce při testování podle EN 1500, když to nikde neuvádí?</a:t>
            </a:r>
            <a:endParaRPr lang="de-DE" sz="2800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baseline="30000" dirty="0"/>
          </a:p>
          <a:p>
            <a:pPr algn="l">
              <a:buClr>
                <a:srgbClr val="0045FF"/>
              </a:buClr>
            </a:pPr>
            <a:r>
              <a:rPr lang="de-DE" sz="2800" dirty="0"/>
              <a:t>  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47D76795-B879-5020-6884-00364A79B6AD}"/>
              </a:ext>
            </a:extLst>
          </p:cNvPr>
          <p:cNvSpPr/>
          <p:nvPr/>
        </p:nvSpPr>
        <p:spPr>
          <a:xfrm>
            <a:off x="2851218" y="1822231"/>
            <a:ext cx="5683182" cy="1251895"/>
          </a:xfrm>
          <a:prstGeom prst="rect">
            <a:avLst/>
          </a:prstGeom>
          <a:solidFill>
            <a:schemeClr val="bg2">
              <a:lumMod val="75000"/>
              <a:alpha val="3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255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49BE853-C02E-7CBB-AF53-9C5ED0F4D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ygienická dezinfekce rukou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CBE0B47-DA65-E822-46FF-5E11A4ABF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BCDEF5A-B16D-7DF1-7204-0F7692473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D6EE162-E586-E81D-D37C-7D9134D5F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1</a:t>
            </a:fld>
            <a:endParaRPr lang="de-DE" dirty="0"/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4E4AF28C-BA71-FABA-DB0B-D93DE779E100}"/>
              </a:ext>
            </a:extLst>
          </p:cNvPr>
          <p:cNvSpPr txBox="1"/>
          <p:nvPr/>
        </p:nvSpPr>
        <p:spPr>
          <a:xfrm>
            <a:off x="423458" y="1836652"/>
            <a:ext cx="10498432" cy="1068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2800" dirty="0"/>
              <a:t>Německá Společnost pro aplikovanou hygienu (VAH) přidala ve svém seznamu dezinfekčních přípravků na ruce údaj o množství přípravku k provedení hygienické dezinfekce rukou podle EN 1500.</a:t>
            </a:r>
          </a:p>
          <a:p>
            <a:pPr algn="l">
              <a:buClr>
                <a:srgbClr val="0045FF"/>
              </a:buClr>
            </a:pPr>
            <a:endParaRPr lang="cs-CZ" sz="2800" dirty="0"/>
          </a:p>
          <a:p>
            <a:pPr algn="l">
              <a:buClr>
                <a:srgbClr val="0045FF"/>
              </a:buClr>
            </a:pPr>
            <a:r>
              <a:rPr lang="cs-CZ" sz="2800" dirty="0"/>
              <a:t>Seznam VAH je veřejně přístupný: </a:t>
            </a:r>
            <a:r>
              <a:rPr lang="cs-CZ" sz="2800" dirty="0">
                <a:hlinkClick r:id="rId2"/>
              </a:rPr>
              <a:t>VAH Liste (vah-liste.de)</a:t>
            </a:r>
            <a:endParaRPr lang="de-DE" sz="2800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800" baseline="30000" dirty="0"/>
          </a:p>
          <a:p>
            <a:pPr algn="l">
              <a:buClr>
                <a:srgbClr val="0045FF"/>
              </a:buClr>
            </a:pPr>
            <a:r>
              <a:rPr lang="de-DE" sz="2800" dirty="0"/>
              <a:t>  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1FE9FEE4-4B9E-4863-9ED9-877119D613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23915" y="3310933"/>
            <a:ext cx="1781745" cy="75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5798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514076"/>
          </a:xfrm>
        </p:spPr>
        <p:txBody>
          <a:bodyPr/>
          <a:lstStyle/>
          <a:p>
            <a:r>
              <a:rPr lang="cs-CZ" dirty="0"/>
              <a:t>Informace o dezinfekčních přípravcích v seznamu VAH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CA4A6C90-B521-45B1-9C51-CD07202A064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229026" y="5386250"/>
            <a:ext cx="1663388" cy="818606"/>
          </a:xfr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anchor="ctr">
            <a:normAutofit fontScale="85000" lnSpcReduction="10000"/>
          </a:bodyPr>
          <a:lstStyle/>
          <a:p>
            <a:pPr marL="1587" indent="0" algn="ctr">
              <a:buNone/>
            </a:pPr>
            <a:r>
              <a:rPr lang="cs-CZ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nožství přípravku při testování podle EN 1500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2</a:t>
            </a:fld>
            <a:endParaRPr lang="de-DE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6C5C59A5-FBD3-F617-1F0F-420C93F840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849"/>
          <a:stretch/>
        </p:blipFill>
        <p:spPr>
          <a:xfrm>
            <a:off x="2753194" y="1010329"/>
            <a:ext cx="7359155" cy="523807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B95C874B-771B-DFFB-2B34-EFB5FE6FE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1855" y="918889"/>
            <a:ext cx="1438476" cy="628738"/>
          </a:xfrm>
          <a:prstGeom prst="rect">
            <a:avLst/>
          </a:prstGeom>
        </p:spPr>
      </p:pic>
      <p:sp>
        <p:nvSpPr>
          <p:cNvPr id="9" name="Ovál 8">
            <a:extLst>
              <a:ext uri="{FF2B5EF4-FFF2-40B4-BE49-F238E27FC236}">
                <a16:creationId xmlns:a16="http://schemas.microsoft.com/office/drawing/2014/main" id="{22EA020D-8D5F-3810-F071-2C545911FC85}"/>
              </a:ext>
            </a:extLst>
          </p:cNvPr>
          <p:cNvSpPr/>
          <p:nvPr/>
        </p:nvSpPr>
        <p:spPr>
          <a:xfrm>
            <a:off x="4066901" y="5660570"/>
            <a:ext cx="687977" cy="269965"/>
          </a:xfrm>
          <a:prstGeom prst="ellipse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B7A9C475-8D09-638C-EBDC-037AB2071DE4}"/>
              </a:ext>
            </a:extLst>
          </p:cNvPr>
          <p:cNvSpPr/>
          <p:nvPr/>
        </p:nvSpPr>
        <p:spPr>
          <a:xfrm>
            <a:off x="4049482" y="5368833"/>
            <a:ext cx="1436918" cy="269965"/>
          </a:xfrm>
          <a:prstGeom prst="ellipse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Inhaltsplatzhalter 10">
            <a:extLst>
              <a:ext uri="{FF2B5EF4-FFF2-40B4-BE49-F238E27FC236}">
                <a16:creationId xmlns:a16="http://schemas.microsoft.com/office/drawing/2014/main" id="{D7678D11-9DD1-41B5-80A6-4CF6B966528A}"/>
              </a:ext>
            </a:extLst>
          </p:cNvPr>
          <p:cNvSpPr txBox="1">
            <a:spLocks/>
          </p:cNvSpPr>
          <p:nvPr/>
        </p:nvSpPr>
        <p:spPr>
          <a:xfrm>
            <a:off x="1311855" y="5220786"/>
            <a:ext cx="1324662" cy="566058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vert="horz" lIns="0" tIns="0" rIns="0" bIns="0" rtlCol="0" anchor="ctr">
            <a:normAutofit/>
          </a:bodyPr>
          <a:lstStyle>
            <a:lvl1pPr marL="266700" indent="-265113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42925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809625" indent="-2700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763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343025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619250" indent="-276225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8859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21526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2419350" indent="-266700" algn="l" defTabSz="2700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1587" indent="0" algn="ctr">
              <a:buFont typeface="Arial" panose="020B0604020202020204" pitchFamily="34" charset="0"/>
              <a:buNone/>
            </a:pPr>
            <a:r>
              <a:rPr lang="cs-CZ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xpoziční doba (30 s / 1 min)</a:t>
            </a:r>
          </a:p>
        </p:txBody>
      </p: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22AB2D70-E00D-D880-AECC-8BBE85B65BDE}"/>
              </a:ext>
            </a:extLst>
          </p:cNvPr>
          <p:cNvCxnSpPr>
            <a:cxnSpLocks/>
            <a:stCxn id="12" idx="3"/>
            <a:endCxn id="10" idx="2"/>
          </p:cNvCxnSpPr>
          <p:nvPr/>
        </p:nvCxnSpPr>
        <p:spPr>
          <a:xfrm>
            <a:off x="2636517" y="5503815"/>
            <a:ext cx="141296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E3CCBE4C-1CB3-7E4A-A821-7E09E8389CB8}"/>
              </a:ext>
            </a:extLst>
          </p:cNvPr>
          <p:cNvCxnSpPr>
            <a:cxnSpLocks/>
            <a:stCxn id="11" idx="1"/>
            <a:endCxn id="9" idx="6"/>
          </p:cNvCxnSpPr>
          <p:nvPr/>
        </p:nvCxnSpPr>
        <p:spPr>
          <a:xfrm flipH="1">
            <a:off x="4754878" y="5795553"/>
            <a:ext cx="547414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675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1611E6B-AD15-CD58-95B0-D3F4E89A9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3"/>
            <a:ext cx="11362062" cy="452438"/>
          </a:xfrm>
        </p:spPr>
        <p:txBody>
          <a:bodyPr/>
          <a:lstStyle/>
          <a:p>
            <a:r>
              <a:rPr lang="cs-CZ" dirty="0"/>
              <a:t>Seznam VAH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8EEA9BE1-B085-84A8-5C01-03CA22AEE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0F3B7F5-B3B5-88A0-240B-5E825D57E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15BB54E-4CBB-0555-5805-04F602FB2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3</a:t>
            </a:fld>
            <a:endParaRPr lang="de-DE" dirty="0"/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F0DEA10E-6BE5-BB5C-F54D-A00152EBF5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480229"/>
              </p:ext>
            </p:extLst>
          </p:nvPr>
        </p:nvGraphicFramePr>
        <p:xfrm>
          <a:off x="414969" y="946153"/>
          <a:ext cx="7800975" cy="5200526"/>
        </p:xfrm>
        <a:graphic>
          <a:graphicData uri="http://schemas.openxmlformats.org/drawingml/2006/table">
            <a:tbl>
              <a:tblPr/>
              <a:tblGrid>
                <a:gridCol w="3295650">
                  <a:extLst>
                    <a:ext uri="{9D8B030D-6E8A-4147-A177-3AD203B41FA5}">
                      <a16:colId xmlns:a16="http://schemas.microsoft.com/office/drawing/2014/main" val="2714821357"/>
                    </a:ext>
                  </a:extLst>
                </a:gridCol>
                <a:gridCol w="819150">
                  <a:extLst>
                    <a:ext uri="{9D8B030D-6E8A-4147-A177-3AD203B41FA5}">
                      <a16:colId xmlns:a16="http://schemas.microsoft.com/office/drawing/2014/main" val="2981388826"/>
                    </a:ext>
                  </a:extLst>
                </a:gridCol>
                <a:gridCol w="2876550">
                  <a:extLst>
                    <a:ext uri="{9D8B030D-6E8A-4147-A177-3AD203B41FA5}">
                      <a16:colId xmlns:a16="http://schemas.microsoft.com/office/drawing/2014/main" val="1153051368"/>
                    </a:ext>
                  </a:extLst>
                </a:gridCol>
                <a:gridCol w="809625">
                  <a:extLst>
                    <a:ext uri="{9D8B030D-6E8A-4147-A177-3AD203B41FA5}">
                      <a16:colId xmlns:a16="http://schemas.microsoft.com/office/drawing/2014/main" val="2790635092"/>
                    </a:ext>
                  </a:extLst>
                </a:gridCol>
              </a:tblGrid>
              <a:tr h="376098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řípravek</a:t>
                      </a:r>
                    </a:p>
                  </a:txBody>
                  <a:tcPr marL="7522" marR="7522" marT="752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nožství pro HDR</a:t>
                      </a:r>
                    </a:p>
                  </a:txBody>
                  <a:tcPr marL="7522" marR="7522" marT="752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ložení</a:t>
                      </a:r>
                    </a:p>
                  </a:txBody>
                  <a:tcPr marL="7522" marR="7522" marT="752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bsah alkoholu</a:t>
                      </a:r>
                    </a:p>
                  </a:txBody>
                  <a:tcPr marL="7522" marR="7522" marT="752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509698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nman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am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73,6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6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081917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nman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® soft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tect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FF)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89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733000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nman® Soft Plus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2-ol 79,9 g / 100 g</a:t>
                      </a:r>
                      <a:b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enoxyethanol 1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9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39898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manum® pu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73,4 g / 100 g</a:t>
                      </a:r>
                      <a:b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2-ol 10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4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295695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fta-Man® / Softalind / Softalind Handsanitizer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45 g / 100 ml</a:t>
                      </a:r>
                      <a:b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Propanol 18 g / 100 ml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420910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fta-Man® Acut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45 g / 100 ml</a:t>
                      </a:r>
                      <a:b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1-ol 18 g / 100 ml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260593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fta-Man® ViscoRub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45 g / 100 ml</a:t>
                      </a:r>
                      <a:b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Propanol 18 g / 100 ml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843933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derman® ca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(96%) 89,1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,1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781986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derman® care gel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(CAS Nr.: 64-17-5) 83,7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,7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6440729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derman® pu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78,2 g / 100 g</a:t>
                      </a:r>
                      <a:b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-Biphenylol 0,1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,2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935297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manol® pu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2-ol 75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576052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rillium® pu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2-ol (CAS Nr.67-63-0) 45 g / 100 g</a:t>
                      </a:r>
                      <a:b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an-1-ol (CAS </a:t>
                      </a:r>
                      <a:r>
                        <a:rPr lang="cs-CZ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r</a:t>
                      </a: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: 71-23-8) 30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063431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rillium® med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85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287990"/>
                  </a:ext>
                </a:extLst>
              </a:tr>
              <a:tr h="31592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rillium® Gel pure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ml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 (64-17-5) 85 g / 100 g</a:t>
                      </a:r>
                    </a:p>
                  </a:txBody>
                  <a:tcPr marL="67698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0%</a:t>
                      </a:r>
                    </a:p>
                  </a:txBody>
                  <a:tcPr marL="7522" marR="7522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0160"/>
                  </a:ext>
                </a:extLst>
              </a:tr>
            </a:tbl>
          </a:graphicData>
        </a:graphic>
      </p:graphicFrame>
      <p:sp>
        <p:nvSpPr>
          <p:cNvPr id="12" name="Textfeld 7">
            <a:extLst>
              <a:ext uri="{FF2B5EF4-FFF2-40B4-BE49-F238E27FC236}">
                <a16:creationId xmlns:a16="http://schemas.microsoft.com/office/drawing/2014/main" id="{0E9FD9C8-4E9F-AA3D-FB47-2FFF3DE46FA2}"/>
              </a:ext>
            </a:extLst>
          </p:cNvPr>
          <p:cNvSpPr txBox="1"/>
          <p:nvPr/>
        </p:nvSpPr>
        <p:spPr>
          <a:xfrm>
            <a:off x="8527388" y="3114580"/>
            <a:ext cx="3420771" cy="21145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2400" dirty="0"/>
              <a:t>Úvaha:</a:t>
            </a:r>
          </a:p>
          <a:p>
            <a:pPr algn="l">
              <a:buClr>
                <a:srgbClr val="0045FF"/>
              </a:buClr>
            </a:pPr>
            <a:r>
              <a:rPr lang="cs-CZ" sz="2400" dirty="0"/>
              <a:t>Pokud je obsah alkoholu v přípravku nižší, je nutné k hygienické dezinfekci rukou použít větší množství.</a:t>
            </a:r>
            <a:endParaRPr lang="de-DE" sz="2400" dirty="0"/>
          </a:p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de-DE" sz="2400" baseline="30000" dirty="0"/>
          </a:p>
          <a:p>
            <a:pPr algn="l">
              <a:buClr>
                <a:srgbClr val="0045FF"/>
              </a:buClr>
            </a:pPr>
            <a:r>
              <a:rPr lang="de-DE" sz="2400" dirty="0"/>
              <a:t>  </a:t>
            </a: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BE97631B-C254-F0BC-4E02-D9D84E7293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854203"/>
              </p:ext>
            </p:extLst>
          </p:nvPr>
        </p:nvGraphicFramePr>
        <p:xfrm>
          <a:off x="8456022" y="1343555"/>
          <a:ext cx="3187338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3669">
                  <a:extLst>
                    <a:ext uri="{9D8B030D-6E8A-4147-A177-3AD203B41FA5}">
                      <a16:colId xmlns:a16="http://schemas.microsoft.com/office/drawing/2014/main" val="232531506"/>
                    </a:ext>
                  </a:extLst>
                </a:gridCol>
                <a:gridCol w="1593669">
                  <a:extLst>
                    <a:ext uri="{9D8B030D-6E8A-4147-A177-3AD203B41FA5}">
                      <a16:colId xmlns:a16="http://schemas.microsoft.com/office/drawing/2014/main" val="9990501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Bioc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VA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2996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 sada testů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 sady testů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2847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2491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4CC3A-DC06-E9D0-F6B9-0E89104B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</a:t>
            </a:r>
            <a:r>
              <a:rPr lang="de-DE" dirty="0" err="1"/>
              <a:t>ra</a:t>
            </a:r>
            <a:r>
              <a:rPr lang="cs-CZ" dirty="0"/>
              <a:t>k</a:t>
            </a:r>
            <a:r>
              <a:rPr lang="de-DE" dirty="0" err="1"/>
              <a:t>tic</a:t>
            </a:r>
            <a:r>
              <a:rPr lang="cs-CZ" dirty="0" err="1"/>
              <a:t>ký</a:t>
            </a:r>
            <a:r>
              <a:rPr lang="cs-CZ" dirty="0"/>
              <a:t> test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DBA8B2-D3B0-94D6-A6F0-0D7DDC02B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0B281-A18E-0FF2-3885-9CAD81A5A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4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C1FFAC-89BB-D7DC-3C23-F5700ADA6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A3448E7-F676-E251-14DF-7C476EFE61D4}"/>
              </a:ext>
            </a:extLst>
          </p:cNvPr>
          <p:cNvSpPr txBox="1"/>
          <p:nvPr/>
        </p:nvSpPr>
        <p:spPr>
          <a:xfrm>
            <a:off x="414970" y="1449388"/>
            <a:ext cx="9585510" cy="1213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Otisk 3 prstů</a:t>
            </a:r>
            <a:endParaRPr lang="de-DE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Hygienická dezinfekce rukou </a:t>
            </a:r>
            <a:r>
              <a:rPr lang="de-DE" dirty="0"/>
              <a:t>(</a:t>
            </a:r>
            <a:r>
              <a:rPr lang="cs-CZ" dirty="0"/>
              <a:t>přípravek s nízkým nebo vysokým obsahem alkoholu)</a:t>
            </a:r>
            <a:endParaRPr lang="de-DE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Otisk 3 prstů</a:t>
            </a:r>
            <a:endParaRPr lang="de-DE" dirty="0"/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de-DE" dirty="0"/>
              <a:t>In</a:t>
            </a:r>
            <a:r>
              <a:rPr lang="cs-CZ" dirty="0"/>
              <a:t>k</a:t>
            </a:r>
            <a:r>
              <a:rPr lang="de-DE" dirty="0" err="1"/>
              <a:t>uba</a:t>
            </a:r>
            <a:r>
              <a:rPr lang="cs-CZ" dirty="0"/>
              <a:t>c</a:t>
            </a:r>
            <a:r>
              <a:rPr lang="de-DE" dirty="0"/>
              <a:t>e </a:t>
            </a:r>
          </a:p>
          <a:p>
            <a:pPr marL="727200" lvl="1" indent="-27000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Porovnání počtu kolonii tvořících jednotek (</a:t>
            </a:r>
            <a:r>
              <a:rPr lang="de-DE" dirty="0"/>
              <a:t>CFU) </a:t>
            </a:r>
            <a:r>
              <a:rPr lang="cs-CZ" dirty="0"/>
              <a:t>před dezinfekcí a po dezinfekci</a:t>
            </a:r>
            <a:r>
              <a:rPr lang="de-DE" dirty="0"/>
              <a:t> 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F64AC35-B531-4519-A921-7B01CDB11324}"/>
              </a:ext>
            </a:extLst>
          </p:cNvPr>
          <p:cNvGrpSpPr/>
          <p:nvPr/>
        </p:nvGrpSpPr>
        <p:grpSpPr>
          <a:xfrm>
            <a:off x="2063105" y="3499103"/>
            <a:ext cx="7626656" cy="2120400"/>
            <a:chOff x="2584430" y="3794756"/>
            <a:chExt cx="7626656" cy="21204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07C81E1B-FD05-F0FD-670C-D720F3AAB2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50644"/>
            <a:stretch/>
          </p:blipFill>
          <p:spPr>
            <a:xfrm>
              <a:off x="2584430" y="3795696"/>
              <a:ext cx="2033727" cy="1943060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B74E7F4A-6F72-3D27-E389-EF5CCF793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81353" y="3794756"/>
              <a:ext cx="2129733" cy="1944000"/>
            </a:xfrm>
            <a:prstGeom prst="rect">
              <a:avLst/>
            </a:prstGeom>
          </p:spPr>
        </p:pic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06F503D9-B542-82CE-D80A-A7A35E903583}"/>
                </a:ext>
              </a:extLst>
            </p:cNvPr>
            <p:cNvCxnSpPr/>
            <p:nvPr/>
          </p:nvCxnSpPr>
          <p:spPr>
            <a:xfrm>
              <a:off x="5279010" y="4766756"/>
              <a:ext cx="2092751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195592CE-7C2A-90F6-3B23-BB07D0390941}"/>
                </a:ext>
              </a:extLst>
            </p:cNvPr>
            <p:cNvSpPr txBox="1"/>
            <p:nvPr/>
          </p:nvSpPr>
          <p:spPr>
            <a:xfrm>
              <a:off x="2584430" y="5738756"/>
              <a:ext cx="901720" cy="176400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algn="l">
                <a:buClr>
                  <a:srgbClr val="0045FF"/>
                </a:buClr>
              </a:pPr>
              <a:r>
                <a:rPr lang="cs-CZ" sz="1200" dirty="0"/>
                <a:t>před</a:t>
              </a:r>
              <a:endParaRPr lang="de-DE" sz="1200" dirty="0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73F0ED63-A366-1E3B-F0FE-877BD454A8AE}"/>
                </a:ext>
              </a:extLst>
            </p:cNvPr>
            <p:cNvSpPr txBox="1"/>
            <p:nvPr/>
          </p:nvSpPr>
          <p:spPr>
            <a:xfrm>
              <a:off x="8081353" y="5738756"/>
              <a:ext cx="901720" cy="176400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algn="l">
                <a:buClr>
                  <a:srgbClr val="0045FF"/>
                </a:buClr>
              </a:pPr>
              <a:r>
                <a:rPr lang="cs-CZ" sz="1200" dirty="0"/>
                <a:t>po</a:t>
              </a:r>
              <a:endParaRPr lang="de-DE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98813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4CC3A-DC06-E9D0-F6B9-0E89104B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sledky praktického testu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DBA8B2-D3B0-94D6-A6F0-0D7DDC02B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0B281-A18E-0FF2-3885-9CAD81A5A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C1FFAC-89BB-D7DC-3C23-F5700ADA6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pic>
        <p:nvPicPr>
          <p:cNvPr id="7" name="Grafik 6" descr="Ein Bild, das Screenshot, Blau, Design, Kunst enthält.&#10;&#10;Automatisch generierte Beschreibung">
            <a:extLst>
              <a:ext uri="{FF2B5EF4-FFF2-40B4-BE49-F238E27FC236}">
                <a16:creationId xmlns:a16="http://schemas.microsoft.com/office/drawing/2014/main" id="{2F97CDAE-3BD7-B37B-8BE4-76E2E966D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095" y="1858139"/>
            <a:ext cx="4013380" cy="382390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46181AF-082B-36A6-BFD9-B065B8B81EDC}"/>
              </a:ext>
            </a:extLst>
          </p:cNvPr>
          <p:cNvSpPr txBox="1"/>
          <p:nvPr/>
        </p:nvSpPr>
        <p:spPr>
          <a:xfrm>
            <a:off x="5912827" y="2006844"/>
            <a:ext cx="549131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rgbClr val="0045FF"/>
              </a:buClr>
            </a:pPr>
            <a:r>
              <a:rPr lang="cs-CZ" dirty="0"/>
              <a:t>Přípravek s vysokým obsahem alkoholu</a:t>
            </a:r>
            <a:endParaRPr lang="de-DE" dirty="0"/>
          </a:p>
          <a:p>
            <a:pPr algn="l">
              <a:buClr>
                <a:srgbClr val="0045FF"/>
              </a:buClr>
            </a:pPr>
            <a:endParaRPr lang="de-DE" dirty="0"/>
          </a:p>
          <a:p>
            <a:pPr marL="742950" lvl="1" indent="-28575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spolehlivěji inaktivuje mikrobiální flóru.</a:t>
            </a:r>
            <a:endParaRPr lang="de-DE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61491A1-4D78-93FE-412E-3A12206D3F15}"/>
              </a:ext>
            </a:extLst>
          </p:cNvPr>
          <p:cNvSpPr txBox="1"/>
          <p:nvPr/>
        </p:nvSpPr>
        <p:spPr>
          <a:xfrm rot="16200000">
            <a:off x="285111" y="3338512"/>
            <a:ext cx="2267588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600" b="1" dirty="0"/>
              <a:t>Redukce CFU (%)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7ADBA18-A5E5-8898-3F0D-55249D3B29FD}"/>
              </a:ext>
            </a:extLst>
          </p:cNvPr>
          <p:cNvSpPr/>
          <p:nvPr/>
        </p:nvSpPr>
        <p:spPr>
          <a:xfrm>
            <a:off x="3190875" y="1733550"/>
            <a:ext cx="1019175" cy="34956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0FF70932-0E1A-77A8-6DD2-F9896B99E9B1}"/>
              </a:ext>
            </a:extLst>
          </p:cNvPr>
          <p:cNvSpPr/>
          <p:nvPr/>
        </p:nvSpPr>
        <p:spPr>
          <a:xfrm>
            <a:off x="3278471" y="5486400"/>
            <a:ext cx="1019175" cy="3202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681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4CC3A-DC06-E9D0-F6B9-0E89104B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sledky praktického testu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DBA8B2-D3B0-94D6-A6F0-0D7DDC02B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30B281-A18E-0FF2-3885-9CAD81A5A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C1FFAC-89BB-D7DC-3C23-F5700ADA6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pic>
        <p:nvPicPr>
          <p:cNvPr id="7" name="Grafik 6" descr="Ein Bild, das Screenshot, Blau, Design, Kunst enthält.&#10;&#10;Automatisch generierte Beschreibung">
            <a:extLst>
              <a:ext uri="{FF2B5EF4-FFF2-40B4-BE49-F238E27FC236}">
                <a16:creationId xmlns:a16="http://schemas.microsoft.com/office/drawing/2014/main" id="{2F97CDAE-3BD7-B37B-8BE4-76E2E966D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095" y="1858139"/>
            <a:ext cx="4013380" cy="382390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46181AF-082B-36A6-BFD9-B065B8B81EDC}"/>
              </a:ext>
            </a:extLst>
          </p:cNvPr>
          <p:cNvSpPr txBox="1"/>
          <p:nvPr/>
        </p:nvSpPr>
        <p:spPr>
          <a:xfrm>
            <a:off x="5912827" y="2006844"/>
            <a:ext cx="54913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rgbClr val="0045FF"/>
              </a:buClr>
            </a:pPr>
            <a:r>
              <a:rPr lang="cs-CZ" dirty="0"/>
              <a:t>Přípravek s vysokým obsahem alkoholu: </a:t>
            </a:r>
            <a:endParaRPr lang="de-DE" dirty="0"/>
          </a:p>
          <a:p>
            <a:pPr algn="l">
              <a:buClr>
                <a:srgbClr val="0045FF"/>
              </a:buClr>
            </a:pPr>
            <a:endParaRPr lang="de-DE" dirty="0"/>
          </a:p>
          <a:p>
            <a:pPr marL="742950" lvl="1" indent="-28575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cs-CZ" dirty="0"/>
              <a:t>spolehlivěji inaktivuje mikrobiální flóru,</a:t>
            </a:r>
            <a:endParaRPr lang="de-DE" dirty="0"/>
          </a:p>
          <a:p>
            <a:pPr marL="742950" lvl="1" indent="-285750">
              <a:buClr>
                <a:srgbClr val="0045FF"/>
              </a:buClr>
              <a:buFont typeface="Arial" panose="020B0604020202020204" pitchFamily="34" charset="0"/>
              <a:buChar char="•"/>
            </a:pPr>
            <a:r>
              <a:rPr lang="de-DE" dirty="0"/>
              <a:t>3 ml </a:t>
            </a:r>
            <a:r>
              <a:rPr lang="de-DE" dirty="0" err="1"/>
              <a:t>usnad</a:t>
            </a:r>
            <a:r>
              <a:rPr lang="cs-CZ" dirty="0" err="1"/>
              <a:t>ňují</a:t>
            </a:r>
            <a:r>
              <a:rPr lang="de-DE" dirty="0"/>
              <a:t> </a:t>
            </a:r>
            <a:r>
              <a:rPr lang="de-DE" dirty="0" err="1"/>
              <a:t>použití</a:t>
            </a:r>
            <a:r>
              <a:rPr lang="de-DE" dirty="0"/>
              <a:t> v praxi</a:t>
            </a:r>
            <a:r>
              <a:rPr lang="cs-CZ" dirty="0"/>
              <a:t>.</a:t>
            </a:r>
            <a:endParaRPr lang="de-DE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61491A1-4D78-93FE-412E-3A12206D3F15}"/>
              </a:ext>
            </a:extLst>
          </p:cNvPr>
          <p:cNvSpPr txBox="1"/>
          <p:nvPr/>
        </p:nvSpPr>
        <p:spPr>
          <a:xfrm rot="16200000">
            <a:off x="285111" y="3338512"/>
            <a:ext cx="2267588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600" b="1" dirty="0"/>
              <a:t>Redukce CFU (%)</a:t>
            </a:r>
          </a:p>
        </p:txBody>
      </p:sp>
    </p:spTree>
    <p:extLst>
      <p:ext uri="{BB962C8B-B14F-4D97-AF65-F5344CB8AC3E}">
        <p14:creationId xmlns:p14="http://schemas.microsoft.com/office/powerpoint/2010/main" val="4094002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4CC3A-DC06-E9D0-F6B9-0E89104BB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ejvýhodnější ekonomická nabídka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DBA8B2-D3B0-94D6-A6F0-0D7DDC02B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C1FFAC-89BB-D7DC-3C23-F5700ADA6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46181AF-082B-36A6-BFD9-B065B8B81EDC}"/>
              </a:ext>
            </a:extLst>
          </p:cNvPr>
          <p:cNvSpPr txBox="1"/>
          <p:nvPr/>
        </p:nvSpPr>
        <p:spPr>
          <a:xfrm>
            <a:off x="7503502" y="2807110"/>
            <a:ext cx="4374173" cy="175432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l">
              <a:buClr>
                <a:srgbClr val="0045FF"/>
              </a:buClr>
            </a:pPr>
            <a:r>
              <a:rPr lang="cs-CZ" dirty="0">
                <a:solidFill>
                  <a:schemeClr val="bg1"/>
                </a:solidFill>
              </a:rPr>
              <a:t>Přípravek s vysokým obsahem alkoholu </a:t>
            </a:r>
            <a:endParaRPr lang="de-DE" dirty="0">
              <a:solidFill>
                <a:schemeClr val="bg1"/>
              </a:solidFill>
            </a:endParaRPr>
          </a:p>
          <a:p>
            <a:pPr algn="l">
              <a:buClr>
                <a:srgbClr val="0045FF"/>
              </a:buClr>
            </a:pPr>
            <a:endParaRPr lang="de-DE" dirty="0">
              <a:solidFill>
                <a:schemeClr val="bg1"/>
              </a:solidFill>
            </a:endParaRPr>
          </a:p>
          <a:p>
            <a:pPr marL="742950" lvl="1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vyžaduje méně častou výměnu lahví</a:t>
            </a:r>
          </a:p>
          <a:p>
            <a:pPr marL="742950" lvl="1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šetří čas</a:t>
            </a:r>
          </a:p>
          <a:p>
            <a:pPr marL="742950" lvl="1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vytváří menší plastový odpad</a:t>
            </a:r>
          </a:p>
          <a:p>
            <a:pPr marL="742950" lvl="1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/>
                </a:solidFill>
              </a:rPr>
              <a:t>šetří peníze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8" name="Grafik 15" descr="Ein Bild, das Screenshot, Text, Blau, Electric Blue (Farbe) enthält.&#10;&#10;Automatisch generierte Beschreibung">
            <a:extLst>
              <a:ext uri="{FF2B5EF4-FFF2-40B4-BE49-F238E27FC236}">
                <a16:creationId xmlns:a16="http://schemas.microsoft.com/office/drawing/2014/main" id="{0CA31A0A-F249-D1C9-C980-80A7758B6F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310" y="2409075"/>
            <a:ext cx="2250687" cy="324000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061491A1-4D78-93FE-412E-3A12206D3F15}"/>
              </a:ext>
            </a:extLst>
          </p:cNvPr>
          <p:cNvSpPr txBox="1"/>
          <p:nvPr/>
        </p:nvSpPr>
        <p:spPr>
          <a:xfrm rot="16200000">
            <a:off x="42384" y="3762534"/>
            <a:ext cx="2753044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Počet dezinfekcí z 500ml láhv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D46E3330-10B7-57BC-BA2E-95CDD398A245}"/>
              </a:ext>
            </a:extLst>
          </p:cNvPr>
          <p:cNvSpPr txBox="1"/>
          <p:nvPr/>
        </p:nvSpPr>
        <p:spPr>
          <a:xfrm>
            <a:off x="1940076" y="5334750"/>
            <a:ext cx="745974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nízký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410065E-88C0-5E24-7A6F-385947AB84FF}"/>
              </a:ext>
            </a:extLst>
          </p:cNvPr>
          <p:cNvSpPr txBox="1"/>
          <p:nvPr/>
        </p:nvSpPr>
        <p:spPr>
          <a:xfrm>
            <a:off x="2940201" y="5344275"/>
            <a:ext cx="745974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vysoký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4B55C1B-27CA-D7BE-85BB-06742128C7C0}"/>
              </a:ext>
            </a:extLst>
          </p:cNvPr>
          <p:cNvSpPr txBox="1"/>
          <p:nvPr/>
        </p:nvSpPr>
        <p:spPr>
          <a:xfrm>
            <a:off x="1980492" y="5549812"/>
            <a:ext cx="1610196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obsah alkoholu</a:t>
            </a:r>
          </a:p>
        </p:txBody>
      </p:sp>
      <p:pic>
        <p:nvPicPr>
          <p:cNvPr id="13" name="Grafik 17" descr="Ein Bild, das Text, Screenshot, Uhr, Design enthält.&#10;&#10;Automatisch generierte Beschreibung">
            <a:extLst>
              <a:ext uri="{FF2B5EF4-FFF2-40B4-BE49-F238E27FC236}">
                <a16:creationId xmlns:a16="http://schemas.microsoft.com/office/drawing/2014/main" id="{C21DA37C-7B60-7980-28DB-A187B74AE0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84" y="2387002"/>
            <a:ext cx="2097321" cy="3240000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7C46271C-FACA-5ADD-EFB0-F902CA48496E}"/>
              </a:ext>
            </a:extLst>
          </p:cNvPr>
          <p:cNvSpPr txBox="1"/>
          <p:nvPr/>
        </p:nvSpPr>
        <p:spPr>
          <a:xfrm>
            <a:off x="5143357" y="5325225"/>
            <a:ext cx="745974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nízký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C5B9286-654D-192D-37C0-880B9F7940EF}"/>
              </a:ext>
            </a:extLst>
          </p:cNvPr>
          <p:cNvSpPr txBox="1"/>
          <p:nvPr/>
        </p:nvSpPr>
        <p:spPr>
          <a:xfrm>
            <a:off x="6143482" y="5317332"/>
            <a:ext cx="745974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vysoký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62B09D2A-63BD-8C03-BC99-2AF6CDAEE2B4}"/>
              </a:ext>
            </a:extLst>
          </p:cNvPr>
          <p:cNvSpPr txBox="1"/>
          <p:nvPr/>
        </p:nvSpPr>
        <p:spPr>
          <a:xfrm>
            <a:off x="5183773" y="5540287"/>
            <a:ext cx="1610196" cy="3143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obsah alkoholu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40B815AC-EFEC-1A56-8DF6-F37195E9EC8E}"/>
              </a:ext>
            </a:extLst>
          </p:cNvPr>
          <p:cNvSpPr txBox="1"/>
          <p:nvPr/>
        </p:nvSpPr>
        <p:spPr>
          <a:xfrm rot="16200000">
            <a:off x="3283332" y="3629416"/>
            <a:ext cx="3018596" cy="53376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400" dirty="0"/>
              <a:t>Cena za 100 dezinfekcí</a:t>
            </a:r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A9ADDDBB-24A0-4AF0-85B2-2FEA79FAA030}"/>
              </a:ext>
            </a:extLst>
          </p:cNvPr>
          <p:cNvSpPr txBox="1"/>
          <p:nvPr/>
        </p:nvSpPr>
        <p:spPr>
          <a:xfrm>
            <a:off x="1019175" y="1334982"/>
            <a:ext cx="10858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45FF"/>
              </a:buClr>
            </a:pPr>
            <a:r>
              <a:rPr lang="cs-CZ" dirty="0"/>
              <a:t>EN 1500:				přípravek s nízkým obsahem alkoholu*		2x 3 ml</a:t>
            </a:r>
          </a:p>
          <a:p>
            <a:pPr>
              <a:buClr>
                <a:srgbClr val="0045FF"/>
              </a:buClr>
            </a:pPr>
            <a:r>
              <a:rPr lang="cs-CZ" dirty="0"/>
              <a:t>				 	přípravek s vysokým obsahem alkoholu		3 ml</a:t>
            </a:r>
            <a:endParaRPr lang="de-DE" dirty="0"/>
          </a:p>
        </p:txBody>
      </p:sp>
      <p:pic>
        <p:nvPicPr>
          <p:cNvPr id="19" name="Graphic 110">
            <a:extLst>
              <a:ext uri="{FF2B5EF4-FFF2-40B4-BE49-F238E27FC236}">
                <a16:creationId xmlns:a16="http://schemas.microsoft.com/office/drawing/2014/main" id="{119E77C5-6AAE-CD85-B6D7-3403B6C3AF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40808" y="1436866"/>
            <a:ext cx="172380" cy="172380"/>
          </a:xfrm>
          <a:prstGeom prst="rect">
            <a:avLst/>
          </a:prstGeom>
        </p:spPr>
      </p:pic>
      <p:pic>
        <p:nvPicPr>
          <p:cNvPr id="20" name="Graphic 110">
            <a:extLst>
              <a:ext uri="{FF2B5EF4-FFF2-40B4-BE49-F238E27FC236}">
                <a16:creationId xmlns:a16="http://schemas.microsoft.com/office/drawing/2014/main" id="{55BB43AE-528C-1673-4CF7-BDF4E0722C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40808" y="1728593"/>
            <a:ext cx="172380" cy="172380"/>
          </a:xfrm>
          <a:prstGeom prst="rect">
            <a:avLst/>
          </a:prstGeom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44361B8C-4194-FA73-4196-5295018464B8}"/>
              </a:ext>
            </a:extLst>
          </p:cNvPr>
          <p:cNvSpPr txBox="1"/>
          <p:nvPr/>
        </p:nvSpPr>
        <p:spPr>
          <a:xfrm>
            <a:off x="6186768" y="3497043"/>
            <a:ext cx="556437" cy="175432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rgbClr val="0045FF"/>
              </a:buClr>
            </a:pPr>
            <a:r>
              <a:rPr lang="cs-CZ" sz="1600" dirty="0">
                <a:solidFill>
                  <a:srgbClr val="00BEFF"/>
                </a:solidFill>
              </a:rPr>
              <a:t>36 Kč</a:t>
            </a:r>
          </a:p>
        </p:txBody>
      </p:sp>
      <p:pic>
        <p:nvPicPr>
          <p:cNvPr id="23" name="Obrázek 22">
            <a:extLst>
              <a:ext uri="{FF2B5EF4-FFF2-40B4-BE49-F238E27FC236}">
                <a16:creationId xmlns:a16="http://schemas.microsoft.com/office/drawing/2014/main" id="{824ADB4F-9FFC-23B3-6BE4-55E204F81D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9050" y="2651443"/>
            <a:ext cx="533767" cy="495369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C8C94626-C5B4-B12B-FBE2-7D6C43C467D9}"/>
              </a:ext>
            </a:extLst>
          </p:cNvPr>
          <p:cNvSpPr txBox="1"/>
          <p:nvPr/>
        </p:nvSpPr>
        <p:spPr>
          <a:xfrm>
            <a:off x="5285140" y="2635975"/>
            <a:ext cx="616219" cy="4068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600" b="1" dirty="0">
                <a:solidFill>
                  <a:schemeClr val="tx2">
                    <a:lumMod val="50000"/>
                  </a:schemeClr>
                </a:solidFill>
              </a:rPr>
              <a:t>48 Kč</a:t>
            </a:r>
          </a:p>
        </p:txBody>
      </p:sp>
      <p:sp>
        <p:nvSpPr>
          <p:cNvPr id="25" name="Textfeld 5">
            <a:extLst>
              <a:ext uri="{FF2B5EF4-FFF2-40B4-BE49-F238E27FC236}">
                <a16:creationId xmlns:a16="http://schemas.microsoft.com/office/drawing/2014/main" id="{BE81457A-FE6D-76ED-8949-500A95E227F0}"/>
              </a:ext>
            </a:extLst>
          </p:cNvPr>
          <p:cNvSpPr txBox="1"/>
          <p:nvPr/>
        </p:nvSpPr>
        <p:spPr>
          <a:xfrm>
            <a:off x="504824" y="6076950"/>
            <a:ext cx="1365062" cy="1714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100" baseline="30000" dirty="0"/>
              <a:t>* </a:t>
            </a:r>
            <a:r>
              <a:rPr lang="de-DE" sz="1100" dirty="0" err="1"/>
              <a:t>Aseptoman</a:t>
            </a:r>
            <a:r>
              <a:rPr lang="de-DE" sz="1100" dirty="0"/>
              <a:t> </a:t>
            </a:r>
            <a:r>
              <a:rPr lang="de-DE" sz="1100" dirty="0" err="1"/>
              <a:t>med</a:t>
            </a:r>
            <a:r>
              <a:rPr lang="de-DE" sz="1100" dirty="0"/>
              <a:t> </a:t>
            </a:r>
            <a:endParaRPr lang="de-DE" sz="1100" baseline="30000" dirty="0"/>
          </a:p>
        </p:txBody>
      </p:sp>
    </p:spTree>
    <p:extLst>
      <p:ext uri="{BB962C8B-B14F-4D97-AF65-F5344CB8AC3E}">
        <p14:creationId xmlns:p14="http://schemas.microsoft.com/office/powerpoint/2010/main" val="770370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5" grpId="0" animBg="1"/>
      <p:bldP spid="16" grpId="0" animBg="1"/>
      <p:bldP spid="17" grpId="0" animBg="1"/>
      <p:bldP spid="21" grpId="0" animBg="1"/>
      <p:bldP spid="2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C0B403-0C54-4F51-86C8-C6DD1CD6B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hrnutí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F50CF145-6AB4-AC66-3E45-86C74DBD6EB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FF4C4C4-439C-85D4-90B2-9145DBB2E6B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1261C5B-4FA2-A7A8-06F7-870B88CF64D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28</a:t>
            </a:fld>
            <a:endParaRPr lang="de-DE" dirty="0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56D03D68-E9AC-AADF-1D20-BC7CBFBD41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1951" y="1449388"/>
            <a:ext cx="11362062" cy="3862841"/>
          </a:xfrm>
        </p:spPr>
        <p:txBody>
          <a:bodyPr/>
          <a:lstStyle/>
          <a:p>
            <a:r>
              <a:rPr lang="cs-CZ" dirty="0"/>
              <a:t>Spotřeba alkoholových dezinfekčních přípravků na ruce je v ČR velmi nízká, přitom hygienická dezinfekce rukou hraje zásadní roli v prevenci infekcí spojených se zdravotní péčí.</a:t>
            </a:r>
          </a:p>
          <a:p>
            <a:endParaRPr lang="cs-CZ" dirty="0"/>
          </a:p>
          <a:p>
            <a:r>
              <a:rPr lang="cs-CZ" dirty="0"/>
              <a:t>Pro zlepšení hygieny rukou v nemocnicích je vypracována multimodální strategie, je připravena řada nástrojů a pomůcek. „Stačí“ ji jen implementovat.</a:t>
            </a:r>
          </a:p>
          <a:p>
            <a:endParaRPr lang="cs-CZ" dirty="0"/>
          </a:p>
          <a:p>
            <a:r>
              <a:rPr lang="cs-CZ" dirty="0"/>
              <a:t>U </a:t>
            </a:r>
            <a:r>
              <a:rPr lang="cs-CZ" dirty="0" err="1"/>
              <a:t>nízkoalkoholových</a:t>
            </a:r>
            <a:r>
              <a:rPr lang="cs-CZ" dirty="0"/>
              <a:t> přípravků je k úspěšné dezinfekci rukou podle EN 1500 potřeba větší dávka než 3 ml.</a:t>
            </a:r>
          </a:p>
          <a:p>
            <a:endParaRPr lang="cs-CZ" dirty="0"/>
          </a:p>
          <a:p>
            <a:r>
              <a:rPr lang="cs-CZ" dirty="0" err="1"/>
              <a:t>Vysokoalkoholové</a:t>
            </a:r>
            <a:r>
              <a:rPr lang="cs-CZ" dirty="0"/>
              <a:t> přípravky</a:t>
            </a:r>
          </a:p>
          <a:p>
            <a:pPr lvl="3"/>
            <a:r>
              <a:rPr lang="cs-CZ" dirty="0"/>
              <a:t>jsou spolehlivě účinné v dávce 3 ml,</a:t>
            </a:r>
          </a:p>
          <a:p>
            <a:pPr lvl="3"/>
            <a:r>
              <a:rPr lang="cs-CZ" dirty="0"/>
              <a:t>rychleji osychají (3 ml za cca 36 s),</a:t>
            </a:r>
          </a:p>
          <a:p>
            <a:pPr lvl="3"/>
            <a:r>
              <a:rPr lang="cs-CZ" dirty="0"/>
              <a:t>ekonomicky výhodnější, přestože láhev / kanystr stojí víc,</a:t>
            </a:r>
          </a:p>
          <a:p>
            <a:pPr lvl="3"/>
            <a:r>
              <a:rPr lang="cs-CZ" dirty="0"/>
              <a:t>jsou ekologičtější. </a:t>
            </a:r>
          </a:p>
        </p:txBody>
      </p:sp>
    </p:spTree>
    <p:extLst>
      <p:ext uri="{BB962C8B-B14F-4D97-AF65-F5344CB8AC3E}">
        <p14:creationId xmlns:p14="http://schemas.microsoft.com/office/powerpoint/2010/main" val="11152256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rafik 39">
            <a:extLst>
              <a:ext uri="{FF2B5EF4-FFF2-40B4-BE49-F238E27FC236}">
                <a16:creationId xmlns:a16="http://schemas.microsoft.com/office/drawing/2014/main" id="{27EE095E-6050-4A20-AF95-AEE38C94C3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0160"/>
            <a:ext cx="12192000" cy="6858000"/>
          </a:xfrm>
          <a:prstGeom prst="rect">
            <a:avLst/>
          </a:prstGeom>
        </p:spPr>
      </p:pic>
      <p:sp>
        <p:nvSpPr>
          <p:cNvPr id="7" name="Rectangle: Rounded Corners 3">
            <a:extLst>
              <a:ext uri="{FF2B5EF4-FFF2-40B4-BE49-F238E27FC236}">
                <a16:creationId xmlns:a16="http://schemas.microsoft.com/office/drawing/2014/main" id="{783A85D2-7EE5-4645-93BD-72D53775CDFA}"/>
              </a:ext>
            </a:extLst>
          </p:cNvPr>
          <p:cNvSpPr/>
          <p:nvPr/>
        </p:nvSpPr>
        <p:spPr>
          <a:xfrm>
            <a:off x="4852675" y="4475214"/>
            <a:ext cx="2903150" cy="491747"/>
          </a:xfrm>
          <a:prstGeom prst="roundRect">
            <a:avLst>
              <a:gd name="adj" fmla="val 50000"/>
            </a:avLst>
          </a:prstGeom>
          <a:solidFill>
            <a:srgbClr val="004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36000" bIns="36000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ILUJEME ZÁKAZNÍKY</a:t>
            </a:r>
            <a:endParaRPr kumimoji="0" lang="en-US" sz="1800" b="1" i="0" u="none" strike="noStrike" kern="1200" cap="all" spc="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: Rounded Corners 3">
            <a:extLst>
              <a:ext uri="{FF2B5EF4-FFF2-40B4-BE49-F238E27FC236}">
                <a16:creationId xmlns:a16="http://schemas.microsoft.com/office/drawing/2014/main" id="{F89B5A06-EBC3-42D2-8A81-6B76D4A93318}"/>
              </a:ext>
            </a:extLst>
          </p:cNvPr>
          <p:cNvSpPr/>
          <p:nvPr/>
        </p:nvSpPr>
        <p:spPr>
          <a:xfrm>
            <a:off x="7633975" y="3281414"/>
            <a:ext cx="2333543" cy="491747"/>
          </a:xfrm>
          <a:prstGeom prst="roundRect">
            <a:avLst>
              <a:gd name="adj" fmla="val 50000"/>
            </a:avLst>
          </a:prstGeom>
          <a:solidFill>
            <a:srgbClr val="004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36000" bIns="36000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ŘINÁŠÍME ŘEŠENÍ</a:t>
            </a:r>
            <a:endParaRPr kumimoji="0" lang="en-US" sz="1800" b="1" i="0" u="none" strike="noStrike" kern="1200" cap="all" spc="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Rectangle: Rounded Corners 3">
            <a:extLst>
              <a:ext uri="{FF2B5EF4-FFF2-40B4-BE49-F238E27FC236}">
                <a16:creationId xmlns:a16="http://schemas.microsoft.com/office/drawing/2014/main" id="{22D6EF51-0919-4FDE-B328-F14F332AA395}"/>
              </a:ext>
            </a:extLst>
          </p:cNvPr>
          <p:cNvSpPr/>
          <p:nvPr/>
        </p:nvSpPr>
        <p:spPr>
          <a:xfrm>
            <a:off x="4363725" y="1738364"/>
            <a:ext cx="2337546" cy="491747"/>
          </a:xfrm>
          <a:prstGeom prst="roundRect">
            <a:avLst>
              <a:gd name="adj" fmla="val 50000"/>
            </a:avLst>
          </a:prstGeom>
          <a:solidFill>
            <a:srgbClr val="004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36000" bIns="36000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KAZUJEME CESTU</a:t>
            </a:r>
            <a:endParaRPr kumimoji="0" lang="en-US" sz="1800" b="1" i="0" u="none" strike="noStrike" kern="1200" cap="all" spc="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Rectangle: Rounded Corners 3">
            <a:extLst>
              <a:ext uri="{FF2B5EF4-FFF2-40B4-BE49-F238E27FC236}">
                <a16:creationId xmlns:a16="http://schemas.microsoft.com/office/drawing/2014/main" id="{A6B675CD-2634-4506-9337-B150CEAEE9F0}"/>
              </a:ext>
            </a:extLst>
          </p:cNvPr>
          <p:cNvSpPr/>
          <p:nvPr/>
        </p:nvSpPr>
        <p:spPr>
          <a:xfrm>
            <a:off x="4350276" y="888134"/>
            <a:ext cx="3244599" cy="73866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nton SemiBold"/>
                <a:ea typeface="+mn-ea"/>
                <a:cs typeface="+mn-cs"/>
              </a:rPr>
              <a:t>Naše Iniciativa </a:t>
            </a: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nton SemiBold"/>
                <a:ea typeface="+mn-ea"/>
                <a:cs typeface="+mn-cs"/>
              </a:rPr>
              <a:t>Mise: Prevence infekcí 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nton SemiBold"/>
                <a:ea typeface="+mn-ea"/>
                <a:cs typeface="+mn-cs"/>
              </a:rPr>
              <a:t>staví na dlouholetých odborných znalostech skupiny HARTMANN. Jejím cílem je užší spolupráce se zdravotnickými pracovníky v oblasti prevence infekcí</a:t>
            </a:r>
          </a:p>
        </p:txBody>
      </p:sp>
      <p:sp>
        <p:nvSpPr>
          <p:cNvPr id="12" name="Rectangle: Rounded Corners 3">
            <a:extLst>
              <a:ext uri="{FF2B5EF4-FFF2-40B4-BE49-F238E27FC236}">
                <a16:creationId xmlns:a16="http://schemas.microsoft.com/office/drawing/2014/main" id="{5673D7DA-EE82-4D04-A275-5A3112278949}"/>
              </a:ext>
            </a:extLst>
          </p:cNvPr>
          <p:cNvSpPr/>
          <p:nvPr/>
        </p:nvSpPr>
        <p:spPr>
          <a:xfrm>
            <a:off x="8502649" y="2622998"/>
            <a:ext cx="3400182" cy="55399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nton SemiBold"/>
                <a:ea typeface="+mn-ea"/>
                <a:cs typeface="+mn-cs"/>
              </a:rPr>
              <a:t>Účinná řešení v oblastech prevence vzniku infekcí výrazně zvyšují bezpečnost a účinnost zdravotní péče pro zdravotníky i pacienty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anton SemiBold"/>
                <a:ea typeface="+mn-ea"/>
                <a:cs typeface="+mn-cs"/>
              </a:rPr>
              <a:t>. </a:t>
            </a: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: Rounded Corners 3">
            <a:extLst>
              <a:ext uri="{FF2B5EF4-FFF2-40B4-BE49-F238E27FC236}">
                <a16:creationId xmlns:a16="http://schemas.microsoft.com/office/drawing/2014/main" id="{574FDF42-B26A-4E11-991C-E7C722EA1F5A}"/>
              </a:ext>
            </a:extLst>
          </p:cNvPr>
          <p:cNvSpPr/>
          <p:nvPr/>
        </p:nvSpPr>
        <p:spPr>
          <a:xfrm>
            <a:off x="5000539" y="5074567"/>
            <a:ext cx="2424916" cy="12926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ašimi odbornými znalostmi, produkty a řešeními umožňujeme našim  zákazníkům předcházet infekcím a získávat tak zdroje, které jim v rámci prevence infekce umožňují soustředit se na ty nejdůležitější činnosti. Právě na těch záleží nejvíce.</a:t>
            </a:r>
            <a:endParaRPr kumimoji="0" lang="cs-CZ" sz="1200" b="1" i="0" u="none" strike="noStrike" kern="1200" cap="none" spc="100" normalizeH="0" baseline="0" noProof="0">
              <a:ln>
                <a:noFill/>
              </a:ln>
              <a:solidFill>
                <a:srgbClr val="84DA1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E5EC52C-CCA5-48D7-81F6-FC463C9AA85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6667" t="47222" r="46562" b="46852"/>
          <a:stretch/>
        </p:blipFill>
        <p:spPr>
          <a:xfrm>
            <a:off x="388142" y="476931"/>
            <a:ext cx="816055" cy="40175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A01498B-3BF8-4A9E-BA00-CEDCAE6B28F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6667" t="47222" r="46562" b="46852"/>
          <a:stretch/>
        </p:blipFill>
        <p:spPr>
          <a:xfrm>
            <a:off x="5684042" y="3458256"/>
            <a:ext cx="816055" cy="401751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E19F244-E683-420C-8DFD-810EF4C599D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6667" t="47222" r="46562" b="46852"/>
          <a:stretch/>
        </p:blipFill>
        <p:spPr>
          <a:xfrm>
            <a:off x="3950492" y="5033056"/>
            <a:ext cx="816055" cy="401751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3644965-C7C9-4FFF-BC0F-95868D17FC1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6667" t="47222" r="46562" b="46852"/>
          <a:stretch/>
        </p:blipFill>
        <p:spPr>
          <a:xfrm>
            <a:off x="7594875" y="2793103"/>
            <a:ext cx="816055" cy="401751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C830C5E0-6DA6-4AAB-96CA-3246AEC89E7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42775" t="42287" r="46194" b="36788"/>
          <a:stretch/>
        </p:blipFill>
        <p:spPr>
          <a:xfrm>
            <a:off x="7137708" y="5041291"/>
            <a:ext cx="1082200" cy="115472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5C30CC60-C99A-4D90-9F3E-86B499EA7FC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44944" t="41247" r="44944" b="41247"/>
          <a:stretch/>
        </p:blipFill>
        <p:spPr>
          <a:xfrm>
            <a:off x="9648503" y="3624263"/>
            <a:ext cx="994385" cy="968339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2341204A-EE1F-41F3-98EF-949D7A940A7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45941" t="40034" r="45941" b="40034"/>
          <a:stretch/>
        </p:blipFill>
        <p:spPr>
          <a:xfrm>
            <a:off x="3450612" y="685799"/>
            <a:ext cx="804238" cy="1110615"/>
          </a:xfrm>
          <a:prstGeom prst="rect">
            <a:avLst/>
          </a:prstGeom>
        </p:spPr>
      </p:pic>
      <p:sp>
        <p:nvSpPr>
          <p:cNvPr id="20" name="Rectangle: Rounded Corners 3">
            <a:extLst>
              <a:ext uri="{FF2B5EF4-FFF2-40B4-BE49-F238E27FC236}">
                <a16:creationId xmlns:a16="http://schemas.microsoft.com/office/drawing/2014/main" id="{D4B9567C-601E-44B8-93F8-0FA9A4427CCA}"/>
              </a:ext>
            </a:extLst>
          </p:cNvPr>
          <p:cNvSpPr/>
          <p:nvPr/>
        </p:nvSpPr>
        <p:spPr>
          <a:xfrm>
            <a:off x="664236" y="2700497"/>
            <a:ext cx="5984300" cy="147732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s</a:t>
            </a:r>
            <a:r>
              <a:rPr kumimoji="0" lang="cs-CZ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</a:t>
            </a:r>
            <a:r>
              <a:rPr kumimoji="0" lang="en-US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  <a:r>
              <a:rPr kumimoji="0" lang="cs-CZ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vence infekcí</a:t>
            </a:r>
            <a:r>
              <a:rPr kumimoji="0" lang="en-US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br>
              <a:rPr kumimoji="0" lang="en-US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4800" b="1" i="0" u="none" strike="noStrike" kern="120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M:IP®)</a:t>
            </a:r>
          </a:p>
        </p:txBody>
      </p:sp>
    </p:spTree>
    <p:extLst>
      <p:ext uri="{BB962C8B-B14F-4D97-AF65-F5344CB8AC3E}">
        <p14:creationId xmlns:p14="http://schemas.microsoft.com/office/powerpoint/2010/main" val="2781018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evalenční bodová studie 2022 - 2023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CA4A6C90-B521-45B1-9C51-CD07202A064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88545" y="1449388"/>
            <a:ext cx="9835615" cy="379412"/>
          </a:xfrm>
        </p:spPr>
        <p:txBody>
          <a:bodyPr/>
          <a:lstStyle/>
          <a:p>
            <a:pPr marL="1587" indent="0">
              <a:buNone/>
            </a:pPr>
            <a:r>
              <a:rPr lang="cs-CZ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had incidence HAI</a:t>
            </a:r>
            <a:endParaRPr lang="cs-CZ" b="1" dirty="0">
              <a:cs typeface="Times New Roman" panose="02020603050405020304" pitchFamily="18" charset="0"/>
            </a:endParaRPr>
          </a:p>
          <a:p>
            <a:endParaRPr lang="cs-CZ" b="1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3</a:t>
            </a:fld>
            <a:endParaRPr lang="de-DE"/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C60640F5-E7F4-34AF-A40C-EA70046B1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126321"/>
              </p:ext>
            </p:extLst>
          </p:nvPr>
        </p:nvGraphicFramePr>
        <p:xfrm>
          <a:off x="588545" y="1949375"/>
          <a:ext cx="10689054" cy="3190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2102">
                  <a:extLst>
                    <a:ext uri="{9D8B030D-6E8A-4147-A177-3AD203B41FA5}">
                      <a16:colId xmlns:a16="http://schemas.microsoft.com/office/drawing/2014/main" val="3700171073"/>
                    </a:ext>
                  </a:extLst>
                </a:gridCol>
                <a:gridCol w="1902373">
                  <a:extLst>
                    <a:ext uri="{9D8B030D-6E8A-4147-A177-3AD203B41FA5}">
                      <a16:colId xmlns:a16="http://schemas.microsoft.com/office/drawing/2014/main" val="2639468372"/>
                    </a:ext>
                  </a:extLst>
                </a:gridCol>
                <a:gridCol w="1807779">
                  <a:extLst>
                    <a:ext uri="{9D8B030D-6E8A-4147-A177-3AD203B41FA5}">
                      <a16:colId xmlns:a16="http://schemas.microsoft.com/office/drawing/2014/main" val="3256405893"/>
                    </a:ext>
                  </a:extLst>
                </a:gridCol>
                <a:gridCol w="1660635">
                  <a:extLst>
                    <a:ext uri="{9D8B030D-6E8A-4147-A177-3AD203B41FA5}">
                      <a16:colId xmlns:a16="http://schemas.microsoft.com/office/drawing/2014/main" val="2005956578"/>
                    </a:ext>
                  </a:extLst>
                </a:gridCol>
                <a:gridCol w="1502979">
                  <a:extLst>
                    <a:ext uri="{9D8B030D-6E8A-4147-A177-3AD203B41FA5}">
                      <a16:colId xmlns:a16="http://schemas.microsoft.com/office/drawing/2014/main" val="4208050829"/>
                    </a:ext>
                  </a:extLst>
                </a:gridCol>
                <a:gridCol w="1713186">
                  <a:extLst>
                    <a:ext uri="{9D8B030D-6E8A-4147-A177-3AD203B41FA5}">
                      <a16:colId xmlns:a16="http://schemas.microsoft.com/office/drawing/2014/main" val="492694379"/>
                    </a:ext>
                  </a:extLst>
                </a:gridCol>
              </a:tblGrid>
              <a:tr h="1216595"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Země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Délka hospitaliz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Průměrná doba do vzniku H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Odhadovaná incidence H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Odhadovaný roční počet pacientů s HA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35407191"/>
                  </a:ext>
                </a:extLst>
              </a:tr>
              <a:tr h="493397">
                <a:tc>
                  <a:txBody>
                    <a:bodyPr/>
                    <a:lstStyle/>
                    <a:p>
                      <a:pPr lvl="0" algn="l"/>
                      <a:r>
                        <a:rPr lang="cs-CZ" dirty="0"/>
                        <a:t>Če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 973 1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,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,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,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1 27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6931208"/>
                  </a:ext>
                </a:extLst>
              </a:tr>
              <a:tr h="493397">
                <a:tc>
                  <a:txBody>
                    <a:bodyPr/>
                    <a:lstStyle/>
                    <a:p>
                      <a:pPr lvl="0" algn="l"/>
                      <a:r>
                        <a:rPr lang="cs-CZ" dirty="0"/>
                        <a:t>Sloven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37 0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,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,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6 5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1339921"/>
                  </a:ext>
                </a:extLst>
              </a:tr>
              <a:tr h="493397">
                <a:tc>
                  <a:txBody>
                    <a:bodyPr/>
                    <a:lstStyle/>
                    <a:p>
                      <a:pPr lvl="0" algn="l"/>
                      <a:r>
                        <a:rPr lang="cs-CZ" dirty="0"/>
                        <a:t>EU/EHP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5 862 7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1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 847 57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76688407"/>
                  </a:ext>
                </a:extLst>
              </a:tr>
              <a:tr h="493397">
                <a:tc>
                  <a:txBody>
                    <a:bodyPr/>
                    <a:lstStyle/>
                    <a:p>
                      <a:pPr lvl="0" algn="l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EU/EHP po validac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66 655 1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5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1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6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4 311 06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0754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4816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458" y="615731"/>
            <a:ext cx="11362062" cy="553131"/>
          </a:xfrm>
        </p:spPr>
        <p:txBody>
          <a:bodyPr/>
          <a:lstStyle/>
          <a:p>
            <a:r>
              <a:rPr lang="cs-CZ" dirty="0"/>
              <a:t>Evropská prevalenční studie 2022-2023</a:t>
            </a:r>
            <a:br>
              <a:rPr lang="cs-CZ" dirty="0"/>
            </a:br>
            <a:r>
              <a:rPr lang="cs-CZ" dirty="0"/>
              <a:t>Spotřeba alkoholových dezinfekčních přípravků na ruce (ADPR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4</a:t>
            </a:fld>
            <a:endParaRPr lang="de-DE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F10C935-EA80-0233-67CB-B88784BC72F7}"/>
              </a:ext>
            </a:extLst>
          </p:cNvPr>
          <p:cNvSpPr txBox="1"/>
          <p:nvPr/>
        </p:nvSpPr>
        <p:spPr>
          <a:xfrm>
            <a:off x="423458" y="1548624"/>
            <a:ext cx="3633632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u="sng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otřeba ADPR</a:t>
            </a:r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án spotřeby alkoholových dezinfekčních přípravků byl</a:t>
            </a:r>
          </a:p>
          <a:p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4,4 litru na 1 000 ošetřovacích dnů</a:t>
            </a:r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to množství se liší podle typu oddělení a země.</a:t>
            </a:r>
          </a:p>
          <a:p>
            <a:endParaRPr lang="cs-CZ" kern="1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roti předchozí PPS (2016-2017) se už neobjevují země se spotřebou menší než 10 l na 1000 ošetřovacích dnů.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C5EC7EE-3FC3-63DC-91BF-6479A71B6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5609" y="1548624"/>
            <a:ext cx="6789135" cy="453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824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6C3739BF-95C7-204E-A12D-D276DB78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553131"/>
          </a:xfrm>
        </p:spPr>
        <p:txBody>
          <a:bodyPr/>
          <a:lstStyle/>
          <a:p>
            <a:r>
              <a:rPr lang="cs-CZ" dirty="0"/>
              <a:t>Spotřeba alkoholových dezinfekčních přípravků na ruce (ADPR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5E4893A-811A-A948-8DBA-C6A66457E21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78CAFF-F77F-4A83-B558-1F171630B2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062361-B219-462B-A9FA-CA4B258C814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5</a:t>
            </a:fld>
            <a:endParaRPr lang="de-DE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F10C935-EA80-0233-67CB-B88784BC72F7}"/>
              </a:ext>
            </a:extLst>
          </p:cNvPr>
          <p:cNvSpPr txBox="1"/>
          <p:nvPr/>
        </p:nvSpPr>
        <p:spPr>
          <a:xfrm>
            <a:off x="431333" y="1112133"/>
            <a:ext cx="363363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án spotřeby alkoholových dezinfekčních přípravků byl V EU</a:t>
            </a:r>
          </a:p>
          <a:p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4,4 litru na 1 000 ošetřovacích dnů</a:t>
            </a:r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to množství se liší podle typu oddělení a země.</a:t>
            </a:r>
          </a:p>
          <a:p>
            <a:endParaRPr lang="cs-CZ" kern="1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án spotřeby v ČR, stejně jako na Slovensku je cca </a:t>
            </a:r>
            <a:r>
              <a:rPr lang="cs-CZ" sz="1800" b="1" kern="100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8 l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a 1000 ošetřovacích dnů.</a:t>
            </a:r>
          </a:p>
          <a:p>
            <a:r>
              <a:rPr lang="cs-CZ" kern="1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jnižší má Maďarsko: 17 l / 1000 ošetřovacích dnů.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íce než 50 l / 1000 ošetřovacích dnů má 7 zemí.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D1946CD6-C912-627B-5E3F-C5079FB8A4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6942" y="1112133"/>
            <a:ext cx="5695407" cy="5341055"/>
          </a:xfrm>
          <a:prstGeom prst="rect">
            <a:avLst/>
          </a:prstGeom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E08BAD99-A37B-A697-C1E0-519EDD72BBCE}"/>
              </a:ext>
            </a:extLst>
          </p:cNvPr>
          <p:cNvSpPr/>
          <p:nvPr/>
        </p:nvSpPr>
        <p:spPr>
          <a:xfrm>
            <a:off x="4560347" y="2238703"/>
            <a:ext cx="5056620" cy="178676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9875" indent="-269875" algn="l">
              <a:buFont typeface="Arial" panose="020B0604020202020204" pitchFamily="34" charset="0"/>
              <a:buChar char="•"/>
            </a:pPr>
            <a:endParaRPr lang="cs-CZ" b="1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9058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97C6E2D-A513-CEA2-4D4B-1498DBFC419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buClr>
                <a:schemeClr val="tx2"/>
              </a:buClr>
            </a:pPr>
            <a:fld id="{0BA9A54C-67C5-4234-BB42-1D2D996DC2E4}" type="slidenum">
              <a:rPr lang="de-DE" smtClean="0"/>
              <a:pPr>
                <a:buClr>
                  <a:schemeClr val="tx2"/>
                </a:buClr>
              </a:pPr>
              <a:t>6</a:t>
            </a:fld>
            <a:endParaRPr lang="de-DE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7D8FAF92-C744-B79F-ADDA-CCA75526F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 je potřeba ke zlepšování hygieny rukou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78BFE50-FE3E-7BEA-C998-0FDA664824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81896" y="1449388"/>
            <a:ext cx="6395135" cy="1440000"/>
          </a:xfrm>
        </p:spPr>
        <p:txBody>
          <a:bodyPr/>
          <a:lstStyle/>
          <a:p>
            <a:r>
              <a:rPr lang="cs-CZ" dirty="0"/>
              <a:t>Motivace</a:t>
            </a:r>
          </a:p>
        </p:txBody>
      </p:sp>
      <p:pic>
        <p:nvPicPr>
          <p:cNvPr id="15" name="Zástupný symbol obrázku 14">
            <a:extLst>
              <a:ext uri="{FF2B5EF4-FFF2-40B4-BE49-F238E27FC236}">
                <a16:creationId xmlns:a16="http://schemas.microsoft.com/office/drawing/2014/main" id="{D3D4CF0A-9737-C257-B4AE-92BE7D650FE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/>
          <a:srcRect l="4877" r="4877"/>
          <a:stretch>
            <a:fillRect/>
          </a:stretch>
        </p:blipFill>
        <p:spPr>
          <a:xfrm>
            <a:off x="2923038" y="1408856"/>
            <a:ext cx="1990774" cy="1440000"/>
          </a:xfrm>
          <a:prstGeom prst="rect">
            <a:avLst/>
          </a:prstGeom>
        </p:spPr>
      </p:pic>
      <p:pic>
        <p:nvPicPr>
          <p:cNvPr id="16" name="Zástupný symbol obrázku 15">
            <a:extLst>
              <a:ext uri="{FF2B5EF4-FFF2-40B4-BE49-F238E27FC236}">
                <a16:creationId xmlns:a16="http://schemas.microsoft.com/office/drawing/2014/main" id="{F3CE672E-7ACF-81D5-AC7C-24E278F3009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/>
          <a:srcRect t="203" b="203"/>
          <a:stretch>
            <a:fillRect/>
          </a:stretch>
        </p:blipFill>
        <p:spPr>
          <a:xfrm>
            <a:off x="2923038" y="3087184"/>
            <a:ext cx="1990774" cy="1440000"/>
          </a:xfrm>
          <a:prstGeom prst="rect">
            <a:avLst/>
          </a:prstGeom>
        </p:spPr>
      </p:pic>
      <p:pic>
        <p:nvPicPr>
          <p:cNvPr id="17" name="Zástupný symbol obrázku 16">
            <a:extLst>
              <a:ext uri="{FF2B5EF4-FFF2-40B4-BE49-F238E27FC236}">
                <a16:creationId xmlns:a16="http://schemas.microsoft.com/office/drawing/2014/main" id="{09E2BA3C-8F85-36BE-7148-92A8CAD7A4C4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/>
          <a:srcRect t="1728" b="1728"/>
          <a:stretch>
            <a:fillRect/>
          </a:stretch>
        </p:blipFill>
        <p:spPr>
          <a:xfrm>
            <a:off x="2923038" y="4765511"/>
            <a:ext cx="1990774" cy="1440000"/>
          </a:xfrm>
          <a:prstGeom prst="rect">
            <a:avLst/>
          </a:prstGeom>
        </p:spPr>
      </p:pic>
      <p:sp>
        <p:nvSpPr>
          <p:cNvPr id="8" name="Zástupný text 7">
            <a:extLst>
              <a:ext uri="{FF2B5EF4-FFF2-40B4-BE49-F238E27FC236}">
                <a16:creationId xmlns:a16="http://schemas.microsoft.com/office/drawing/2014/main" id="{4CC56769-8489-B8A2-5D06-65B9050CCA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81896" y="3127716"/>
            <a:ext cx="6395135" cy="1440000"/>
          </a:xfrm>
        </p:spPr>
        <p:txBody>
          <a:bodyPr/>
          <a:lstStyle/>
          <a:p>
            <a:r>
              <a:rPr lang="cs-CZ" dirty="0"/>
              <a:t>Návod, jak to udělat a být úspěšný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2F169CE6-2637-D24E-2319-695448BFC9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381896" y="4806044"/>
            <a:ext cx="6395135" cy="1440000"/>
          </a:xfrm>
        </p:spPr>
        <p:txBody>
          <a:bodyPr/>
          <a:lstStyle/>
          <a:p>
            <a:r>
              <a:rPr lang="cs-CZ" dirty="0"/>
              <a:t>Podpora a pomoc</a:t>
            </a:r>
          </a:p>
        </p:txBody>
      </p:sp>
      <p:sp>
        <p:nvSpPr>
          <p:cNvPr id="10" name="Zástupný symbol pro datum 9">
            <a:extLst>
              <a:ext uri="{FF2B5EF4-FFF2-40B4-BE49-F238E27FC236}">
                <a16:creationId xmlns:a16="http://schemas.microsoft.com/office/drawing/2014/main" id="{9677DF1A-780B-B897-E1CC-D50114D6571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/>
          </a:p>
        </p:txBody>
      </p:sp>
      <p:sp>
        <p:nvSpPr>
          <p:cNvPr id="11" name="Zástupný symbol pro zápatí 10">
            <a:extLst>
              <a:ext uri="{FF2B5EF4-FFF2-40B4-BE49-F238E27FC236}">
                <a16:creationId xmlns:a16="http://schemas.microsoft.com/office/drawing/2014/main" id="{B1D215ED-6E2E-174B-046A-3C534B15DC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defTabSz="9144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70781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345D80-AB9D-3CD6-AC1A-B3F8BAFB8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ultimodální kampaň WHO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6DBB9756-B3BD-1C8D-D189-6287AD1387F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F4527F2-0C83-0437-AEA0-3FB046BDAB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6EFFAFB-1A38-FB17-2BFE-3A587871AC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7</a:t>
            </a:fld>
            <a:endParaRPr lang="de-DE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DCA32062-BAF2-0286-6E2A-0E02C0324A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3486"/>
          <a:stretch/>
        </p:blipFill>
        <p:spPr>
          <a:xfrm>
            <a:off x="578185" y="1347716"/>
            <a:ext cx="5601482" cy="4574113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57D564D0-D527-B1EF-AEF0-789C38CBFA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7118"/>
          <a:stretch/>
        </p:blipFill>
        <p:spPr>
          <a:xfrm>
            <a:off x="6334394" y="1436915"/>
            <a:ext cx="5601482" cy="681100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4C42CA18-FDE1-3D49-ABC3-327BC7A0A067}"/>
              </a:ext>
            </a:extLst>
          </p:cNvPr>
          <p:cNvGrpSpPr/>
          <p:nvPr/>
        </p:nvGrpSpPr>
        <p:grpSpPr>
          <a:xfrm>
            <a:off x="6334393" y="2185853"/>
            <a:ext cx="5601481" cy="3143793"/>
            <a:chOff x="2554540" y="404812"/>
            <a:chExt cx="7222469" cy="3808122"/>
          </a:xfrm>
        </p:grpSpPr>
        <p:pic>
          <p:nvPicPr>
            <p:cNvPr id="12" name="Obrázek 11">
              <a:extLst>
                <a:ext uri="{FF2B5EF4-FFF2-40B4-BE49-F238E27FC236}">
                  <a16:creationId xmlns:a16="http://schemas.microsoft.com/office/drawing/2014/main" id="{0EB69A58-AF99-FBBC-CC82-9739CDE11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54540" y="404812"/>
              <a:ext cx="7135221" cy="1533739"/>
            </a:xfrm>
            <a:prstGeom prst="rect">
              <a:avLst/>
            </a:prstGeom>
          </p:spPr>
        </p:pic>
        <p:pic>
          <p:nvPicPr>
            <p:cNvPr id="14" name="Obrázek 13">
              <a:extLst>
                <a:ext uri="{FF2B5EF4-FFF2-40B4-BE49-F238E27FC236}">
                  <a16:creationId xmlns:a16="http://schemas.microsoft.com/office/drawing/2014/main" id="{FCBF84D8-AB35-9179-43AA-0930A10128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8181"/>
            <a:stretch/>
          </p:blipFill>
          <p:spPr>
            <a:xfrm>
              <a:off x="2737052" y="1895006"/>
              <a:ext cx="7039957" cy="23179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0954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345D80-AB9D-3CD6-AC1A-B3F8BAF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2"/>
            <a:ext cx="6787020" cy="751127"/>
          </a:xfrm>
        </p:spPr>
        <p:txBody>
          <a:bodyPr/>
          <a:lstStyle/>
          <a:p>
            <a:r>
              <a:rPr lang="cs-CZ" dirty="0"/>
              <a:t>Dvě silná doporučení WHO k hygieně rukou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6DBB9756-B3BD-1C8D-D189-6287AD1387F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F4527F2-0C83-0437-AEA0-3FB046BDAB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6EFFAFB-1A38-FB17-2BFE-3A587871AC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8</a:t>
            </a:fld>
            <a:endParaRPr lang="de-DE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22A014BE-D2A8-C0CF-5EC1-ECA133C14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9669" y="404812"/>
            <a:ext cx="4170169" cy="5847445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D7BC2D9F-2AE9-9843-A91B-5042CE5F640A}"/>
              </a:ext>
            </a:extLst>
          </p:cNvPr>
          <p:cNvSpPr txBox="1"/>
          <p:nvPr/>
        </p:nvSpPr>
        <p:spPr>
          <a:xfrm>
            <a:off x="332161" y="1343375"/>
            <a:ext cx="666082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kern="100" dirty="0">
                <a:solidFill>
                  <a:srgbClr val="00BEFF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kyny WHO – klíčové složky programu k prevenci infekcí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1E71C801-5481-2336-9A70-D2B0230D0775}"/>
              </a:ext>
            </a:extLst>
          </p:cNvPr>
          <p:cNvSpPr txBox="1"/>
          <p:nvPr/>
        </p:nvSpPr>
        <p:spPr>
          <a:xfrm>
            <a:off x="332161" y="1900143"/>
            <a:ext cx="648665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vní doporučení z klíčové komponenty č. 8:</a:t>
            </a:r>
          </a:p>
          <a:p>
            <a:r>
              <a:rPr lang="cs-CZ" kern="1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teriál a vybavení k provádění patřičné hygieny rukou by mělo být v místě péče vždy a snadno dostupné. Nezbytným požadavkem je dostatečná infrastruktura … podle mezinárodních a národních standardů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8A9F5A3E-05E0-1728-9946-DBC850C64E75}"/>
              </a:ext>
            </a:extLst>
          </p:cNvPr>
          <p:cNvSpPr txBox="1"/>
          <p:nvPr/>
        </p:nvSpPr>
        <p:spPr>
          <a:xfrm>
            <a:off x="320334" y="3785548"/>
            <a:ext cx="648665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800" b="1" kern="1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uhé doporučení z klíčové komponenty č. 6:</a:t>
            </a:r>
          </a:p>
          <a:p>
            <a:r>
              <a:rPr lang="cs-CZ" kern="1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zorování hygieny rukou a poskytování zpětné vazby by na národní úrovni měly být klíčovými indikátory výkonu. Získávání dat a časté poskytování zpětné vazby jsou kritickými prvky každé účinné strategie. …</a:t>
            </a:r>
          </a:p>
        </p:txBody>
      </p:sp>
    </p:spTree>
    <p:extLst>
      <p:ext uri="{BB962C8B-B14F-4D97-AF65-F5344CB8AC3E}">
        <p14:creationId xmlns:p14="http://schemas.microsoft.com/office/powerpoint/2010/main" val="752649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345D80-AB9D-3CD6-AC1A-B3F8BAFB8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439919"/>
          </a:xfrm>
        </p:spPr>
        <p:txBody>
          <a:bodyPr/>
          <a:lstStyle/>
          <a:p>
            <a:r>
              <a:rPr lang="cs-CZ" dirty="0"/>
              <a:t>Iniciativa WHO „Hygiena rukou pro všechny“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6DBB9756-B3BD-1C8D-D189-6287AD1387F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>
              <a:buClr>
                <a:schemeClr val="tx2"/>
              </a:buClr>
            </a:pPr>
            <a:endParaRPr lang="de-DE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F4527F2-0C83-0437-AEA0-3FB046BDAB3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 defTabSz="914400"/>
            <a:endParaRPr lang="de-DE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6EFFAFB-1A38-FB17-2BFE-3A587871AC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l">
              <a:buClr>
                <a:schemeClr val="tx2"/>
              </a:buClr>
            </a:pPr>
            <a:fld id="{0BA9A54C-67C5-4234-BB42-1D2D996DC2E4}" type="slidenum">
              <a:rPr lang="de-DE" smtClean="0"/>
              <a:pPr algn="l">
                <a:buClr>
                  <a:schemeClr val="tx2"/>
                </a:buClr>
              </a:pPr>
              <a:t>9</a:t>
            </a:fld>
            <a:endParaRPr lang="de-DE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0A2313C0-FED7-C3C5-43A1-FBE7178149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473" y="1224819"/>
            <a:ext cx="7221288" cy="532181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96002B6C-6044-7B6B-81F6-143CAB896757}"/>
              </a:ext>
            </a:extLst>
          </p:cNvPr>
          <p:cNvSpPr txBox="1"/>
          <p:nvPr/>
        </p:nvSpPr>
        <p:spPr>
          <a:xfrm>
            <a:off x="2529758" y="1233527"/>
            <a:ext cx="2185851" cy="3340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b="1" dirty="0">
                <a:solidFill>
                  <a:srgbClr val="00BEFF"/>
                </a:solidFill>
              </a:rPr>
              <a:t>8 praktických kroků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971F2AE-6166-F55C-8356-5DAFD85E3CC4}"/>
              </a:ext>
            </a:extLst>
          </p:cNvPr>
          <p:cNvSpPr txBox="1"/>
          <p:nvPr/>
        </p:nvSpPr>
        <p:spPr>
          <a:xfrm>
            <a:off x="2917290" y="1792140"/>
            <a:ext cx="1349910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PROVEĎTE ANALÝZU A HODNOCENÍ SOUČASNÉHO STAVU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7F23CD7-48EB-F484-BACF-54B410424AD2}"/>
              </a:ext>
            </a:extLst>
          </p:cNvPr>
          <p:cNvSpPr txBox="1"/>
          <p:nvPr/>
        </p:nvSpPr>
        <p:spPr>
          <a:xfrm>
            <a:off x="4790167" y="1792140"/>
            <a:ext cx="1047476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NASTAVTE CÍLE A DEFINUJTE POSTUP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99E05A6-E614-724A-E59E-EFE80039E83C}"/>
              </a:ext>
            </a:extLst>
          </p:cNvPr>
          <p:cNvSpPr txBox="1"/>
          <p:nvPr/>
        </p:nvSpPr>
        <p:spPr>
          <a:xfrm>
            <a:off x="6431731" y="1792140"/>
            <a:ext cx="1449525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ZAPRACUJTE NÁRODNÍ STANDARDY A MECHANISMY ODPOVĚDNOSTI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989487B2-CF14-75BA-963F-9A20D491A05B}"/>
              </a:ext>
            </a:extLst>
          </p:cNvPr>
          <p:cNvSpPr txBox="1"/>
          <p:nvPr/>
        </p:nvSpPr>
        <p:spPr>
          <a:xfrm>
            <a:off x="8282711" y="1794668"/>
            <a:ext cx="1279300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ZLEPŠETE INFRASTRUKTURU   A ÚDRŽBU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0DB7CA9-B408-FCF8-8B77-42A817A8BDC7}"/>
              </a:ext>
            </a:extLst>
          </p:cNvPr>
          <p:cNvSpPr txBox="1"/>
          <p:nvPr/>
        </p:nvSpPr>
        <p:spPr>
          <a:xfrm>
            <a:off x="2971916" y="4344052"/>
            <a:ext cx="1349910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MONITORUJTE A VYHODNOCUJTE DATA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98E0FF2-768C-4E81-0A32-8BD2EA9AE5A1}"/>
              </a:ext>
            </a:extLst>
          </p:cNvPr>
          <p:cNvSpPr txBox="1"/>
          <p:nvPr/>
        </p:nvSpPr>
        <p:spPr>
          <a:xfrm>
            <a:off x="4790167" y="4353523"/>
            <a:ext cx="1047476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VZDĚLÁVEJTE ZDRAVOTNÍKY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63A0F2B-EAFE-055F-2F5C-0BFFFE9DBB5A}"/>
              </a:ext>
            </a:extLst>
          </p:cNvPr>
          <p:cNvSpPr txBox="1"/>
          <p:nvPr/>
        </p:nvSpPr>
        <p:spPr>
          <a:xfrm>
            <a:off x="6431731" y="4353523"/>
            <a:ext cx="1449525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ZAPOJTE VEŘEJNOST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65A03B23-9ED4-05AE-9A8D-A178D6B198AD}"/>
              </a:ext>
            </a:extLst>
          </p:cNvPr>
          <p:cNvSpPr txBox="1"/>
          <p:nvPr/>
        </p:nvSpPr>
        <p:spPr>
          <a:xfrm>
            <a:off x="8282711" y="4356051"/>
            <a:ext cx="1279300" cy="6462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rgbClr val="0045FF"/>
              </a:buClr>
            </a:pPr>
            <a:r>
              <a:rPr lang="cs-CZ" sz="1200" dirty="0">
                <a:solidFill>
                  <a:srgbClr val="00BEFF"/>
                </a:solidFill>
              </a:rPr>
              <a:t>PROVÁDĚJTE OPERATIVNÍ VÝZKUM A SDÍLEJTE ZKUŠENOSTI</a:t>
            </a:r>
          </a:p>
        </p:txBody>
      </p:sp>
    </p:spTree>
    <p:extLst>
      <p:ext uri="{BB962C8B-B14F-4D97-AF65-F5344CB8AC3E}">
        <p14:creationId xmlns:p14="http://schemas.microsoft.com/office/powerpoint/2010/main" val="2044163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heme/theme1.xml><?xml version="1.0" encoding="utf-8"?>
<a:theme xmlns:a="http://schemas.openxmlformats.org/drawingml/2006/main" name="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5FF"/>
        </a:solidFill>
        <a:ln w="9525"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HARTMANN_PowerPoint_Master_CZ_FINAL_28.11.22.pptx" id="{1F0D3690-3D03-4340-813D-4E0593054317}" vid="{041B048A-8FC5-4C02-B278-40D91D86C49D}"/>
    </a:ext>
  </a:extLst>
</a:theme>
</file>

<file path=ppt/theme/theme2.xml><?xml version="1.0" encoding="utf-8"?>
<a:theme xmlns:a="http://schemas.openxmlformats.org/drawingml/2006/main" name="1_Hartmann corporate_Confidential">
  <a:themeElements>
    <a:clrScheme name="HARTMANN">
      <a:dk1>
        <a:srgbClr val="000000"/>
      </a:dk1>
      <a:lt1>
        <a:srgbClr val="FFFFFF"/>
      </a:lt1>
      <a:dk2>
        <a:srgbClr val="0045FF"/>
      </a:dk2>
      <a:lt2>
        <a:srgbClr val="001689"/>
      </a:lt2>
      <a:accent1>
        <a:srgbClr val="00BEFF"/>
      </a:accent1>
      <a:accent2>
        <a:srgbClr val="00D8B4"/>
      </a:accent2>
      <a:accent3>
        <a:srgbClr val="84DA10"/>
      </a:accent3>
      <a:accent4>
        <a:srgbClr val="FFDE0F"/>
      </a:accent4>
      <a:accent5>
        <a:srgbClr val="FF8E00"/>
      </a:accent5>
      <a:accent6>
        <a:srgbClr val="FF2954"/>
      </a:accent6>
      <a:hlink>
        <a:srgbClr val="00BEFF"/>
      </a:hlink>
      <a:folHlink>
        <a:srgbClr val="B21DA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9FF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Präsentation10" id="{EF43CC22-2CA9-A243-B552-C0926ED915E1}" vid="{C119C152-9618-D942-8972-146BE5C8591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211014B4254D449BF536B72546F111E" ma:contentTypeVersion="12" ma:contentTypeDescription="Vytvoří nový dokument" ma:contentTypeScope="" ma:versionID="143672b736fe2a9c46015186132b80a8">
  <xsd:schema xmlns:xsd="http://www.w3.org/2001/XMLSchema" xmlns:xs="http://www.w3.org/2001/XMLSchema" xmlns:p="http://schemas.microsoft.com/office/2006/metadata/properties" xmlns:ns2="2e1140e2-0bf6-4114-9ad8-57552f712c2d" xmlns:ns3="c870eea5-ffd4-4360-97fd-cc71f67b3b9c" targetNamespace="http://schemas.microsoft.com/office/2006/metadata/properties" ma:root="true" ma:fieldsID="8ecdfb1f4ba2a70bc02fd53aa98747c2" ns2:_="" ns3:_="">
    <xsd:import namespace="2e1140e2-0bf6-4114-9ad8-57552f712c2d"/>
    <xsd:import namespace="c870eea5-ffd4-4360-97fd-cc71f67b3b9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140e2-0bf6-4114-9ad8-57552f712c2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70eea5-ffd4-4360-97fd-cc71f67b3b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696CCEA-B1C8-4DA8-A3FE-C4DCE9194DE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56E4BC-7197-40B2-850F-4EB6CE1F7E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1140e2-0bf6-4114-9ad8-57552f712c2d"/>
    <ds:schemaRef ds:uri="c870eea5-ffd4-4360-97fd-cc71f67b3b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B63687-59F2-489E-88D6-90DE0F616083}">
  <ds:schemaRefs>
    <ds:schemaRef ds:uri="090b5293-fc10-4c45-95da-17d90f0647b0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c072b57-956b-414f-b43e-a69018c26b49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5e12a2b4-6411-4604-8cfe-f7270fd63618"/>
    <ds:schemaRef ds:uri="32d0971c-e78e-47b7-b768-91789504f83d"/>
    <ds:schemaRef ds:uri="d8eeaad6-5acd-4216-ad45-9e3e5e9caa01"/>
  </ds:schemaRefs>
</ds:datastoreItem>
</file>

<file path=docMetadata/LabelInfo.xml><?xml version="1.0" encoding="utf-8"?>
<clbl:labelList xmlns:clbl="http://schemas.microsoft.com/office/2020/mipLabelMetadata">
  <clbl:label id="{19cb3c1e-de20-484a-8c7e-0f961c4a491d}" enabled="0" method="" siteId="{19cb3c1e-de20-484a-8c7e-0f961c4a491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ARTMANN_PowerPoint_Master_CZ_FINAL_28.11.22</Template>
  <TotalTime>1415</TotalTime>
  <Words>1750</Words>
  <Application>Microsoft Office PowerPoint</Application>
  <PresentationFormat>Širokoúhlá obrazovka</PresentationFormat>
  <Paragraphs>340</Paragraphs>
  <Slides>29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40" baseType="lpstr">
      <vt:lpstr>Arial</vt:lpstr>
      <vt:lpstr>Calibri</vt:lpstr>
      <vt:lpstr>Panton SemiBold</vt:lpstr>
      <vt:lpstr>Roboto-Medium</vt:lpstr>
      <vt:lpstr>Roboto-Thin</vt:lpstr>
      <vt:lpstr>SymbolMT</vt:lpstr>
      <vt:lpstr>Tahoma</vt:lpstr>
      <vt:lpstr>Times New Roman</vt:lpstr>
      <vt:lpstr>Hartmann corporate_Confidential</vt:lpstr>
      <vt:lpstr>1_Hartmann corporate_Confidential</vt:lpstr>
      <vt:lpstr>think-cell Folie</vt:lpstr>
      <vt:lpstr>Hygienická dezinfekce rukou –  na množství záleží</vt:lpstr>
      <vt:lpstr>Množství provedených dezinfekcí rukou</vt:lpstr>
      <vt:lpstr>Prevalenční bodová studie 2022 - 2023</vt:lpstr>
      <vt:lpstr>Evropská prevalenční studie 2022-2023 Spotřeba alkoholových dezinfekčních přípravků na ruce (ADPR)</vt:lpstr>
      <vt:lpstr>Spotřeba alkoholových dezinfekčních přípravků na ruce (ADPR)</vt:lpstr>
      <vt:lpstr>Co je potřeba ke zlepšování hygieny rukou</vt:lpstr>
      <vt:lpstr>Multimodální kampaň WHO</vt:lpstr>
      <vt:lpstr>Dvě silná doporučení WHO k hygieně rukou</vt:lpstr>
      <vt:lpstr>Iniciativa WHO „Hygiena rukou pro všechny“</vt:lpstr>
      <vt:lpstr>Naše podpora pro zlepšování hygieny rukou v nemocnicích</vt:lpstr>
      <vt:lpstr>Množství alkoholu v přípravku</vt:lpstr>
      <vt:lpstr>Hygienická dezinfekce rukou</vt:lpstr>
      <vt:lpstr>Množství alkoholu v dezinfekčním přípravku</vt:lpstr>
      <vt:lpstr>Množství alkoholu v dezinfekčním přípravku</vt:lpstr>
      <vt:lpstr>Postup při testování přípravku podle EN 1500</vt:lpstr>
      <vt:lpstr>Postup při testování přípravku podle EN 1500</vt:lpstr>
      <vt:lpstr>Prezentace aplikace PowerPoint</vt:lpstr>
      <vt:lpstr>Hygienická dezinfekce rukou</vt:lpstr>
      <vt:lpstr>Hygienická dezinfekce rukou</vt:lpstr>
      <vt:lpstr>Hygienická dezinfekce rukou</vt:lpstr>
      <vt:lpstr>Hygienická dezinfekce rukou</vt:lpstr>
      <vt:lpstr>Informace o dezinfekčních přípravcích v seznamu VAH</vt:lpstr>
      <vt:lpstr>Seznam VAH</vt:lpstr>
      <vt:lpstr>Praktický test</vt:lpstr>
      <vt:lpstr>Výsledky praktického testu</vt:lpstr>
      <vt:lpstr>Výsledky praktického testu</vt:lpstr>
      <vt:lpstr>Nejvýhodnější ekonomická nabídka</vt:lpstr>
      <vt:lpstr>Shrnutí</vt:lpstr>
      <vt:lpstr>Prezentace aplikace PowerPoint</vt:lpstr>
    </vt:vector>
  </TitlesOfParts>
  <Company>Hartman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ž začnete, promyslete: 
Jak klasifikovat Vaši prezentaci a soubor?</dc:title>
  <dc:creator>Havlicek Petr</dc:creator>
  <cp:lastModifiedBy>Havlicek Petr</cp:lastModifiedBy>
  <cp:revision>1</cp:revision>
  <cp:lastPrinted>2019-05-27T13:42:38Z</cp:lastPrinted>
  <dcterms:created xsi:type="dcterms:W3CDTF">2024-09-30T06:12:42Z</dcterms:created>
  <dcterms:modified xsi:type="dcterms:W3CDTF">2024-10-01T05:4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1014B4254D449BF536B72546F111E</vt:lpwstr>
  </property>
  <property fmtid="{D5CDD505-2E9C-101B-9397-08002B2CF9AE}" pid="3" name="_dlc_DocIdItemGuid">
    <vt:lpwstr>d112f0bf-27e9-4bb1-bcc3-12bf30141412</vt:lpwstr>
  </property>
  <property fmtid="{D5CDD505-2E9C-101B-9397-08002B2CF9AE}" pid="4" name="MediaServiceImageTags">
    <vt:lpwstr/>
  </property>
</Properties>
</file>